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66.xml" ContentType="application/vnd.openxmlformats-officedocument.presentationml.tags+xml"/>
  <Override PartName="/ppt/tags/tag267.xml" ContentType="application/vnd.openxmlformats-officedocument.presentationml.tags+xml"/>
  <Override PartName="/ppt/notesSlides/notesSlide1.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notesSlides/notesSlide2.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notesSlides/notesSlide3.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4"/>
    <p:sldMasterId id="2147483821" r:id="rId5"/>
    <p:sldMasterId id="2147483784" r:id="rId6"/>
  </p:sldMasterIdLst>
  <p:notesMasterIdLst>
    <p:notesMasterId r:id="rId20"/>
  </p:notesMasterIdLst>
  <p:handoutMasterIdLst>
    <p:handoutMasterId r:id="rId21"/>
  </p:handoutMasterIdLst>
  <p:sldIdLst>
    <p:sldId id="1285" r:id="rId7"/>
    <p:sldId id="1372" r:id="rId8"/>
    <p:sldId id="330" r:id="rId9"/>
    <p:sldId id="1376" r:id="rId10"/>
    <p:sldId id="1377" r:id="rId11"/>
    <p:sldId id="1378" r:id="rId12"/>
    <p:sldId id="1379" r:id="rId13"/>
    <p:sldId id="1380" r:id="rId14"/>
    <p:sldId id="358" r:id="rId15"/>
    <p:sldId id="1381" r:id="rId16"/>
    <p:sldId id="1382" r:id="rId17"/>
    <p:sldId id="1371" r:id="rId18"/>
    <p:sldId id="1374"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igital innovation Challenge" id="{C8652D0B-1D3B-4451-B7FE-1CDDD2424946}">
          <p14:sldIdLst>
            <p14:sldId id="1285"/>
            <p14:sldId id="1372"/>
            <p14:sldId id="330"/>
            <p14:sldId id="1376"/>
            <p14:sldId id="1377"/>
            <p14:sldId id="1378"/>
            <p14:sldId id="1379"/>
            <p14:sldId id="1380"/>
            <p14:sldId id="358"/>
            <p14:sldId id="1381"/>
            <p14:sldId id="1382"/>
            <p14:sldId id="1371"/>
            <p14:sldId id="137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F24BAA-FB45-7C43-6F49-0EB1FB1492A8}" name="Teresa Le" initials="TL" userId="Teresa L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00F01C-CD76-4877-973F-1A3791A38126}" v="1" dt="2023-04-07T15:53:10.5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43"/>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4B31E4F-8A88-8376-0954-7FC80F4CA51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820188B-4B1A-ED07-9372-81CE3379C09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C3FD1FB-B00D-48EF-A153-CCEE1070B0FC}" type="datetimeFigureOut">
              <a:rPr lang="en-US" smtClean="0"/>
              <a:t>4/13/2023</a:t>
            </a:fld>
            <a:endParaRPr lang="en-US"/>
          </a:p>
        </p:txBody>
      </p:sp>
      <p:sp>
        <p:nvSpPr>
          <p:cNvPr id="4" name="Footer Placeholder 3">
            <a:extLst>
              <a:ext uri="{FF2B5EF4-FFF2-40B4-BE49-F238E27FC236}">
                <a16:creationId xmlns:a16="http://schemas.microsoft.com/office/drawing/2014/main" id="{F4ADC7F7-7A99-9356-7614-31AE70D1E59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FCF0A3-3741-B0FB-283A-B08C9F9B889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A8429E7-6C61-444E-972F-A5DDF767E079}" type="slidenum">
              <a:rPr lang="en-US" smtClean="0"/>
              <a:t>‹#›</a:t>
            </a:fld>
            <a:endParaRPr lang="en-US"/>
          </a:p>
        </p:txBody>
      </p:sp>
    </p:spTree>
    <p:extLst>
      <p:ext uri="{BB962C8B-B14F-4D97-AF65-F5344CB8AC3E}">
        <p14:creationId xmlns:p14="http://schemas.microsoft.com/office/powerpoint/2010/main" val="506021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D922818-924A-4168-B2F6-5BDADB4321D3}" type="datetimeFigureOut">
              <a:rPr lang="en-US" smtClean="0"/>
              <a:t>4/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F14061-ACB8-4BA3-A124-D00F59BB9158}" type="slidenum">
              <a:rPr lang="en-US" smtClean="0"/>
              <a:t>‹#›</a:t>
            </a:fld>
            <a:endParaRPr lang="en-US"/>
          </a:p>
        </p:txBody>
      </p:sp>
    </p:spTree>
    <p:extLst>
      <p:ext uri="{BB962C8B-B14F-4D97-AF65-F5344CB8AC3E}">
        <p14:creationId xmlns:p14="http://schemas.microsoft.com/office/powerpoint/2010/main" val="27898398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his slide is pre-programmed into the template, see example with content on the following slide.</a:t>
            </a:r>
          </a:p>
          <a:p>
            <a:pPr>
              <a:lnSpc>
                <a:spcPct val="107000"/>
              </a:lnSpc>
              <a:spcAft>
                <a:spcPts val="800"/>
              </a:spcAft>
            </a:pPr>
            <a:endParaRPr lang="en-US" sz="10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800" i="1" kern="100">
                <a:effectLst/>
                <a:latin typeface="Calibri" panose="020F0502020204030204" pitchFamily="34" charset="0"/>
                <a:ea typeface="Calibri" panose="020F0502020204030204" pitchFamily="34" charset="0"/>
                <a:cs typeface="Arial" panose="020B0604020202020204" pitchFamily="34" charset="0"/>
              </a:rPr>
              <a:t>Font sizes and colors are editable, we recommend using the settings provided but feel free to adjust to your needs. If you change your mind, reset the layout to go back to the original formatting of the slide.  Placeholders can be deleted if necessary, and the masking technique can cover locked objects. </a:t>
            </a:r>
          </a:p>
          <a:p>
            <a:pPr>
              <a:lnSpc>
                <a:spcPct val="107000"/>
              </a:lnSpc>
              <a:spcAft>
                <a:spcPts val="800"/>
              </a:spcAft>
            </a:pPr>
            <a:endParaRPr lang="en-US" sz="800" i="1"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800" b="1"/>
              <a:t>The color of the background shape can be changed.</a:t>
            </a:r>
          </a:p>
          <a:p>
            <a:pPr>
              <a:lnSpc>
                <a:spcPct val="107000"/>
              </a:lnSpc>
              <a:spcAft>
                <a:spcPts val="800"/>
              </a:spcAft>
            </a:pPr>
            <a:endParaRPr lang="en-US" sz="800" b="1"/>
          </a:p>
          <a:p>
            <a:pPr marL="0" marR="0" lvl="0" indent="0" algn="l" defTabSz="914400" rtl="0" eaLnBrk="1" fontAlgn="auto" latinLnBrk="0" hangingPunct="1">
              <a:lnSpc>
                <a:spcPct val="107000"/>
              </a:lnSpc>
              <a:spcBef>
                <a:spcPts val="0"/>
              </a:spcBef>
              <a:spcAft>
                <a:spcPts val="800"/>
              </a:spcAft>
              <a:buClrTx/>
              <a:buSzTx/>
              <a:buFontTx/>
              <a:buNone/>
              <a:tabLst/>
              <a:defRPr/>
            </a:pPr>
            <a:r>
              <a:rPr lang="en-US" sz="800" b="1" kern="100">
                <a:effectLst/>
                <a:latin typeface="Calibri" panose="020F0502020204030204" pitchFamily="34" charset="0"/>
                <a:cs typeface="Arial" panose="020B0604020202020204" pitchFamily="34" charset="0"/>
              </a:rPr>
              <a:t>To change the background shape color: </a:t>
            </a:r>
            <a:r>
              <a:rPr lang="en-US" sz="800" kern="100">
                <a:effectLst/>
                <a:latin typeface="Calibri" panose="020F0502020204030204" pitchFamily="34" charset="0"/>
                <a:cs typeface="Arial" panose="020B0604020202020204" pitchFamily="34" charset="0"/>
              </a:rPr>
              <a:t>Right click on the background shape &gt; Format Background &gt; Fill&gt; Solid Fill &gt; Color &gt; Choose/select a color (see the following slide for example)</a:t>
            </a:r>
            <a:endParaRPr lang="en-US" sz="800" i="1"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endParaRPr lang="en-US" sz="800" i="1"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o add text: </a:t>
            </a:r>
            <a:r>
              <a:rPr lang="en-US" sz="1000" kern="100">
                <a:effectLst/>
                <a:latin typeface="Calibri" panose="020F0502020204030204" pitchFamily="34" charset="0"/>
                <a:ea typeface="Calibri" panose="020F0502020204030204" pitchFamily="34" charset="0"/>
                <a:cs typeface="Arial" panose="020B0604020202020204" pitchFamily="34" charset="0"/>
              </a:rPr>
              <a:t>Click on the text box placeholder and start typing.  Please make sure your text remains within the text box.  If you have more text to fit in, you can reduce the font size.  Font size may be reduced to a minimum of 10pt. Text boxes can be deleted if not needed.  Placeholder text will not show in presentations unless edited.</a:t>
            </a:r>
            <a:endParaRPr lang="en-US" sz="800"/>
          </a:p>
          <a:p>
            <a:pPr>
              <a:lnSpc>
                <a:spcPct val="107000"/>
              </a:lnSpc>
              <a:spcAft>
                <a:spcPts val="800"/>
              </a:spcAft>
            </a:pPr>
            <a:endParaRPr lang="en-US" sz="1000" b="1"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o add an image: </a:t>
            </a:r>
            <a:r>
              <a:rPr lang="en-US" sz="1000" kern="100">
                <a:effectLst/>
                <a:latin typeface="Calibri" panose="020F0502020204030204" pitchFamily="34" charset="0"/>
                <a:ea typeface="Calibri" panose="020F0502020204030204" pitchFamily="34" charset="0"/>
                <a:cs typeface="Arial" panose="020B0604020202020204" pitchFamily="34" charset="0"/>
              </a:rPr>
              <a:t>Click on the icon in the placeholder.  This will open a new window where you can navigate to the image you want to select in your files.  If a photo is already on the slide in a placeholder and you want to change the image.  Click on the image and delete it.  It will revert to the original placeholder and you can follow the same process.</a:t>
            </a:r>
          </a:p>
          <a:p>
            <a:pPr>
              <a:lnSpc>
                <a:spcPct val="107000"/>
              </a:lnSpc>
              <a:spcAft>
                <a:spcPts val="800"/>
              </a:spcAft>
            </a:pPr>
            <a:endParaRPr lang="en-US" sz="10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o replace an image:</a:t>
            </a:r>
            <a:r>
              <a:rPr lang="en-US" sz="1000" kern="100">
                <a:effectLst/>
                <a:latin typeface="Calibri" panose="020F0502020204030204" pitchFamily="34" charset="0"/>
                <a:ea typeface="Calibri" panose="020F0502020204030204" pitchFamily="34" charset="0"/>
                <a:cs typeface="Arial" panose="020B0604020202020204" pitchFamily="34" charset="0"/>
              </a:rPr>
              <a:t> Simply right click on the image, click ‘Change picture’ and select your source.  The image </a:t>
            </a:r>
            <a:r>
              <a:rPr lang="en-US" sz="1000" b="1" kern="100">
                <a:effectLst/>
                <a:latin typeface="Calibri" panose="020F0502020204030204" pitchFamily="34" charset="0"/>
                <a:ea typeface="Calibri" panose="020F0502020204030204" pitchFamily="34" charset="0"/>
                <a:cs typeface="Arial" panose="020B0604020202020204" pitchFamily="34" charset="0"/>
              </a:rPr>
              <a:t>must</a:t>
            </a:r>
            <a:r>
              <a:rPr lang="en-US" sz="1000" kern="100">
                <a:effectLst/>
                <a:latin typeface="Calibri" panose="020F0502020204030204" pitchFamily="34" charset="0"/>
                <a:ea typeface="Calibri" panose="020F0502020204030204" pitchFamily="34" charset="0"/>
                <a:cs typeface="Arial" panose="020B0604020202020204" pitchFamily="34" charset="0"/>
              </a:rPr>
              <a:t> cover the whole shape.</a:t>
            </a:r>
          </a:p>
          <a:p>
            <a:pPr>
              <a:lnSpc>
                <a:spcPct val="107000"/>
              </a:lnSpc>
              <a:spcAft>
                <a:spcPts val="800"/>
              </a:spcAft>
            </a:pPr>
            <a:endParaRPr lang="en-US" sz="10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o adjust the positioning of an image: </a:t>
            </a:r>
            <a:r>
              <a:rPr lang="en-US" sz="1000" kern="100">
                <a:effectLst/>
                <a:latin typeface="Calibri" panose="020F0502020204030204" pitchFamily="34" charset="0"/>
                <a:ea typeface="Calibri" panose="020F0502020204030204" pitchFamily="34" charset="0"/>
                <a:cs typeface="Arial" panose="020B0604020202020204" pitchFamily="34" charset="0"/>
              </a:rPr>
              <a:t>Right click on the image &gt; Crop &gt; Drag image to required position within its frame.</a:t>
            </a:r>
          </a:p>
          <a:p>
            <a:pPr>
              <a:lnSpc>
                <a:spcPct val="107000"/>
              </a:lnSpc>
              <a:spcAft>
                <a:spcPts val="800"/>
              </a:spcAft>
            </a:pPr>
            <a:endParaRPr lang="en-US" sz="1000" kern="10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b="1" kern="100">
                <a:effectLst/>
                <a:latin typeface="Calibri" panose="020F0502020204030204" pitchFamily="34" charset="0"/>
                <a:ea typeface="Calibri" panose="020F0502020204030204" pitchFamily="34" charset="0"/>
                <a:cs typeface="Arial" panose="020B0604020202020204" pitchFamily="34" charset="0"/>
              </a:rPr>
              <a:t>To resize an image: </a:t>
            </a:r>
            <a:r>
              <a:rPr lang="en-US" sz="1000" kern="100">
                <a:effectLst/>
                <a:latin typeface="Calibri" panose="020F0502020204030204" pitchFamily="34" charset="0"/>
                <a:ea typeface="Calibri" panose="020F0502020204030204" pitchFamily="34" charset="0"/>
                <a:cs typeface="Arial" panose="020B0604020202020204" pitchFamily="34" charset="0"/>
              </a:rPr>
              <a:t>Right click on the image &gt; Crop &gt; Press down Shift on your keyboard &gt; Drag one of the round corner points in or out to resize image &gt; Drag image to reposition within the frame if necessary.</a:t>
            </a:r>
          </a:p>
          <a:p>
            <a:pPr>
              <a:lnSpc>
                <a:spcPct val="107000"/>
              </a:lnSpc>
              <a:spcAft>
                <a:spcPts val="800"/>
              </a:spcAft>
            </a:pPr>
            <a:endParaRPr lang="en-US" sz="800" kern="100">
              <a:effectLst/>
              <a:latin typeface="Calibri" panose="020F0502020204030204" pitchFamily="34" charset="0"/>
              <a:ea typeface="Calibri" panose="020F0502020204030204" pitchFamily="34" charset="0"/>
              <a:cs typeface="Arial" panose="020B0604020202020204" pitchFamily="34" charset="0"/>
            </a:endParaRPr>
          </a:p>
          <a:p>
            <a:endParaRPr lang="en-US" sz="800"/>
          </a:p>
          <a:p>
            <a:endParaRPr lang="en-US"/>
          </a:p>
        </p:txBody>
      </p:sp>
      <p:sp>
        <p:nvSpPr>
          <p:cNvPr id="4" name="Slide Number Placeholder 3"/>
          <p:cNvSpPr>
            <a:spLocks noGrp="1"/>
          </p:cNvSpPr>
          <p:nvPr>
            <p:ph type="sldNum" sz="quarter" idx="5"/>
          </p:nvPr>
        </p:nvSpPr>
        <p:spPr/>
        <p:txBody>
          <a:bodyPr/>
          <a:lstStyle/>
          <a:p>
            <a:fld id="{83F14061-ACB8-4BA3-A124-D00F59BB9158}" type="slidenum">
              <a:rPr lang="en-US" smtClean="0"/>
              <a:t>1</a:t>
            </a:fld>
            <a:endParaRPr lang="en-US"/>
          </a:p>
        </p:txBody>
      </p:sp>
    </p:spTree>
    <p:extLst>
      <p:ext uri="{BB962C8B-B14F-4D97-AF65-F5344CB8AC3E}">
        <p14:creationId xmlns:p14="http://schemas.microsoft.com/office/powerpoint/2010/main" val="3803596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000" b="1" kern="100" dirty="0">
                <a:effectLst/>
                <a:latin typeface="Calibri" panose="020F0502020204030204" pitchFamily="34" charset="0"/>
                <a:ea typeface="Calibri" panose="020F0502020204030204" pitchFamily="34" charset="0"/>
                <a:cs typeface="Arial" panose="020B0604020202020204" pitchFamily="34" charset="0"/>
              </a:rPr>
              <a:t>This slide is pre-programmed into the template, see example with content on the following slide.</a:t>
            </a:r>
          </a:p>
          <a:p>
            <a:pPr>
              <a:lnSpc>
                <a:spcPct val="107000"/>
              </a:lnSpc>
              <a:spcAft>
                <a:spcPts val="800"/>
              </a:spcAft>
            </a:pPr>
            <a:endParaRPr lang="en-US" sz="1000"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i="1" kern="100" dirty="0">
                <a:effectLst/>
                <a:latin typeface="Calibri" panose="020F0502020204030204" pitchFamily="34" charset="0"/>
                <a:ea typeface="Calibri" panose="020F0502020204030204" pitchFamily="34" charset="0"/>
                <a:cs typeface="Arial" panose="020B0604020202020204" pitchFamily="34" charset="0"/>
              </a:rPr>
              <a:t>Font sizes and colors are editable, we recommend using the settings provided but feel free to adjust to your needs. If you change your mind, reset the layout to go back to the original formatting of the slide.  Placeholders can be deleted if necessary, and the masking technique can cover locked objects.  </a:t>
            </a:r>
          </a:p>
          <a:p>
            <a:pPr>
              <a:lnSpc>
                <a:spcPct val="107000"/>
              </a:lnSpc>
              <a:spcAft>
                <a:spcPts val="800"/>
              </a:spcAft>
            </a:pPr>
            <a:endParaRPr lang="en-US" sz="1000" i="1"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b="1" kern="100" dirty="0">
                <a:effectLst/>
                <a:latin typeface="Calibri" panose="020F0502020204030204" pitchFamily="34" charset="0"/>
                <a:ea typeface="Calibri" panose="020F0502020204030204" pitchFamily="34" charset="0"/>
                <a:cs typeface="Arial" panose="020B0604020202020204" pitchFamily="34" charset="0"/>
              </a:rPr>
              <a:t>To add text: </a:t>
            </a:r>
            <a:r>
              <a:rPr lang="en-US" sz="1200" kern="100" dirty="0">
                <a:effectLst/>
                <a:latin typeface="Calibri" panose="020F0502020204030204" pitchFamily="34" charset="0"/>
                <a:ea typeface="Calibri" panose="020F0502020204030204" pitchFamily="34" charset="0"/>
                <a:cs typeface="Arial" panose="020B0604020202020204" pitchFamily="34" charset="0"/>
              </a:rPr>
              <a:t>Click on the text box placeholder and start typing.  Please make sure your text remains within the text box.  If you have more text to fit in, you can reduce the font size.  Font size may be reduced to a minimum of 10pt. Text boxes can be deleted if not needed.  Placeholder text will not show in presentations unless edited.</a:t>
            </a:r>
            <a:endParaRPr lang="en-US" sz="1000"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o change the color of the subtitle text box: </a:t>
            </a:r>
            <a:r>
              <a:rPr lang="en-US" sz="1200" b="0" kern="100" dirty="0">
                <a:effectLst/>
                <a:latin typeface="Calibri" panose="020F0502020204030204" pitchFamily="34" charset="0"/>
                <a:ea typeface="Calibri" panose="020F0502020204030204" pitchFamily="34" charset="0"/>
                <a:cs typeface="Arial" panose="020B0604020202020204" pitchFamily="34" charset="0"/>
              </a:rPr>
              <a:t>Simply select the text box you wish to change &gt; Shape Fill &gt; Choose/select a color</a:t>
            </a:r>
            <a:endParaRPr lang="en-US" dirty="0"/>
          </a:p>
          <a:p>
            <a:endParaRPr lang="en-US" dirty="0"/>
          </a:p>
        </p:txBody>
      </p:sp>
      <p:sp>
        <p:nvSpPr>
          <p:cNvPr id="4" name="Slide Number Placeholder 3"/>
          <p:cNvSpPr>
            <a:spLocks noGrp="1"/>
          </p:cNvSpPr>
          <p:nvPr>
            <p:ph type="sldNum" sz="quarter" idx="5"/>
          </p:nvPr>
        </p:nvSpPr>
        <p:spPr/>
        <p:txBody>
          <a:bodyPr/>
          <a:lstStyle/>
          <a:p>
            <a:fld id="{83F14061-ACB8-4BA3-A124-D00F59BB9158}" type="slidenum">
              <a:rPr lang="en-US" smtClean="0"/>
              <a:t>3</a:t>
            </a:fld>
            <a:endParaRPr lang="en-US"/>
          </a:p>
        </p:txBody>
      </p:sp>
    </p:spTree>
    <p:extLst>
      <p:ext uri="{BB962C8B-B14F-4D97-AF65-F5344CB8AC3E}">
        <p14:creationId xmlns:p14="http://schemas.microsoft.com/office/powerpoint/2010/main" val="1751446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000" b="1" kern="100" dirty="0">
                <a:effectLst/>
                <a:latin typeface="Calibri" panose="020F0502020204030204" pitchFamily="34" charset="0"/>
                <a:ea typeface="Calibri" panose="020F0502020204030204" pitchFamily="34" charset="0"/>
                <a:cs typeface="Arial" panose="020B0604020202020204" pitchFamily="34" charset="0"/>
              </a:rPr>
              <a:t>This slide is pre-programmed into the template, see example with content on the following slide.</a:t>
            </a:r>
          </a:p>
          <a:p>
            <a:pPr>
              <a:lnSpc>
                <a:spcPct val="107000"/>
              </a:lnSpc>
              <a:spcAft>
                <a:spcPts val="800"/>
              </a:spcAft>
            </a:pPr>
            <a:endParaRPr lang="en-US" sz="1000"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i="1" kern="100" dirty="0">
                <a:effectLst/>
                <a:latin typeface="Calibri" panose="020F0502020204030204" pitchFamily="34" charset="0"/>
                <a:ea typeface="Calibri" panose="020F0502020204030204" pitchFamily="34" charset="0"/>
                <a:cs typeface="Arial" panose="020B0604020202020204" pitchFamily="34" charset="0"/>
              </a:rPr>
              <a:t>Font sizes and colors are editable, we recommend using the settings provided but feel free to adjust to your needs. If you change your mind, reset the layout to go back to the original formatting of the slide.  Placeholders can be deleted if necessary, and the masking technique can cover locked objects.  </a:t>
            </a:r>
          </a:p>
          <a:p>
            <a:pPr>
              <a:lnSpc>
                <a:spcPct val="107000"/>
              </a:lnSpc>
              <a:spcAft>
                <a:spcPts val="800"/>
              </a:spcAft>
            </a:pPr>
            <a:endParaRPr lang="en-US" sz="1000" i="1"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b="1" kern="100" dirty="0">
                <a:effectLst/>
                <a:latin typeface="Calibri" panose="020F0502020204030204" pitchFamily="34" charset="0"/>
                <a:ea typeface="Calibri" panose="020F0502020204030204" pitchFamily="34" charset="0"/>
                <a:cs typeface="Arial" panose="020B0604020202020204" pitchFamily="34" charset="0"/>
              </a:rPr>
              <a:t>To add text: </a:t>
            </a:r>
            <a:r>
              <a:rPr lang="en-US" sz="1200" kern="100" dirty="0">
                <a:effectLst/>
                <a:latin typeface="Calibri" panose="020F0502020204030204" pitchFamily="34" charset="0"/>
                <a:ea typeface="Calibri" panose="020F0502020204030204" pitchFamily="34" charset="0"/>
                <a:cs typeface="Arial" panose="020B0604020202020204" pitchFamily="34" charset="0"/>
              </a:rPr>
              <a:t>Click on the text box placeholder and start typing.  Please make sure your text remains within the text box.  If you have more text to fit in, you can reduce the font size.  Font size may be reduced to a minimum of 10pt. Text boxes can be deleted if not needed.  Placeholder text will not show in presentations unless edited.</a:t>
            </a:r>
            <a:endParaRPr lang="en-US" sz="1000"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o change the color of the subtitle text box: </a:t>
            </a:r>
            <a:r>
              <a:rPr lang="en-US" sz="1200" b="0" kern="100" dirty="0">
                <a:effectLst/>
                <a:latin typeface="Calibri" panose="020F0502020204030204" pitchFamily="34" charset="0"/>
                <a:ea typeface="Calibri" panose="020F0502020204030204" pitchFamily="34" charset="0"/>
                <a:cs typeface="Arial" panose="020B0604020202020204" pitchFamily="34" charset="0"/>
              </a:rPr>
              <a:t>Simply select the text box you wish to change &gt; Shape Fill &gt; Choose/select a color</a:t>
            </a:r>
            <a:endParaRPr lang="en-US" dirty="0"/>
          </a:p>
          <a:p>
            <a:endParaRPr lang="en-US" dirty="0"/>
          </a:p>
        </p:txBody>
      </p:sp>
      <p:sp>
        <p:nvSpPr>
          <p:cNvPr id="4" name="Slide Number Placeholder 3"/>
          <p:cNvSpPr>
            <a:spLocks noGrp="1"/>
          </p:cNvSpPr>
          <p:nvPr>
            <p:ph type="sldNum" sz="quarter" idx="5"/>
          </p:nvPr>
        </p:nvSpPr>
        <p:spPr/>
        <p:txBody>
          <a:bodyPr/>
          <a:lstStyle/>
          <a:p>
            <a:fld id="{83F14061-ACB8-4BA3-A124-D00F59BB9158}" type="slidenum">
              <a:rPr lang="en-US" smtClean="0"/>
              <a:t>7</a:t>
            </a:fld>
            <a:endParaRPr lang="en-US"/>
          </a:p>
        </p:txBody>
      </p:sp>
    </p:spTree>
    <p:extLst>
      <p:ext uri="{BB962C8B-B14F-4D97-AF65-F5344CB8AC3E}">
        <p14:creationId xmlns:p14="http://schemas.microsoft.com/office/powerpoint/2010/main" val="1494906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000" b="1" kern="100" dirty="0">
                <a:effectLst/>
                <a:latin typeface="Calibri" panose="020F0502020204030204" pitchFamily="34" charset="0"/>
                <a:ea typeface="Calibri" panose="020F0502020204030204" pitchFamily="34" charset="0"/>
                <a:cs typeface="Arial" panose="020B0604020202020204" pitchFamily="34" charset="0"/>
              </a:rPr>
              <a:t>This slide is pre-programmed into the template, see example with content on the following slide.</a:t>
            </a:r>
          </a:p>
          <a:p>
            <a:pPr>
              <a:lnSpc>
                <a:spcPct val="107000"/>
              </a:lnSpc>
              <a:spcAft>
                <a:spcPts val="800"/>
              </a:spcAft>
            </a:pPr>
            <a:endParaRPr lang="en-US" sz="1000"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000" i="1" kern="100" dirty="0">
                <a:effectLst/>
                <a:latin typeface="Calibri" panose="020F0502020204030204" pitchFamily="34" charset="0"/>
                <a:ea typeface="Calibri" panose="020F0502020204030204" pitchFamily="34" charset="0"/>
                <a:cs typeface="Arial" panose="020B0604020202020204" pitchFamily="34" charset="0"/>
              </a:rPr>
              <a:t>Font sizes and colors are editable, we recommend using the settings provided but feel free to adjust to your needs. If you change your mind, reset the layout to go back to the original formatting of the slide.  Placeholders can be deleted if necessary, and the masking technique can cover locked objects.  </a:t>
            </a:r>
          </a:p>
          <a:p>
            <a:pPr>
              <a:lnSpc>
                <a:spcPct val="107000"/>
              </a:lnSpc>
              <a:spcAft>
                <a:spcPts val="800"/>
              </a:spcAft>
            </a:pPr>
            <a:endParaRPr lang="en-US" sz="1000" i="1" kern="1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en-US" sz="1200" b="1" kern="100" dirty="0">
                <a:effectLst/>
                <a:latin typeface="Calibri" panose="020F0502020204030204" pitchFamily="34" charset="0"/>
                <a:ea typeface="Calibri" panose="020F0502020204030204" pitchFamily="34" charset="0"/>
                <a:cs typeface="Arial" panose="020B0604020202020204" pitchFamily="34" charset="0"/>
              </a:rPr>
              <a:t>To add text: </a:t>
            </a:r>
            <a:r>
              <a:rPr lang="en-US" sz="1200" kern="100" dirty="0">
                <a:effectLst/>
                <a:latin typeface="Calibri" panose="020F0502020204030204" pitchFamily="34" charset="0"/>
                <a:ea typeface="Calibri" panose="020F0502020204030204" pitchFamily="34" charset="0"/>
                <a:cs typeface="Arial" panose="020B0604020202020204" pitchFamily="34" charset="0"/>
              </a:rPr>
              <a:t>Click on the text box placeholder and start typing.  Please make sure your text remains within the text box.  If you have more text to fit in, you can reduce the font size.  Font size may be reduced to a minimum of 10pt. Text boxes can be deleted if not needed.  Placeholder text will not show in presentations unless edited.</a:t>
            </a:r>
            <a:endParaRPr lang="en-US" sz="1000"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kern="100" dirty="0">
                <a:effectLst/>
                <a:latin typeface="Calibri" panose="020F0502020204030204" pitchFamily="34" charset="0"/>
                <a:ea typeface="Calibri" panose="020F0502020204030204" pitchFamily="34" charset="0"/>
                <a:cs typeface="Arial" panose="020B0604020202020204" pitchFamily="34" charset="0"/>
              </a:rPr>
              <a:t>To add a graph: </a:t>
            </a:r>
            <a:r>
              <a:rPr lang="en-US" sz="1800" kern="100" dirty="0">
                <a:effectLst/>
                <a:latin typeface="Calibri" panose="020F0502020204030204" pitchFamily="34" charset="0"/>
                <a:ea typeface="Calibri" panose="020F0502020204030204" pitchFamily="34" charset="0"/>
                <a:cs typeface="Arial" panose="020B0604020202020204" pitchFamily="34" charset="0"/>
              </a:rPr>
              <a:t>Click on the icon in the placeholder.  This will open a new window where you can select your preferred graph.  To edit the graph select ‘Edit Data’ and update the spreadsheet with your data.</a:t>
            </a:r>
          </a:p>
          <a:p>
            <a:endParaRPr lang="en-US" dirty="0"/>
          </a:p>
        </p:txBody>
      </p:sp>
      <p:sp>
        <p:nvSpPr>
          <p:cNvPr id="4" name="Slide Number Placeholder 3"/>
          <p:cNvSpPr>
            <a:spLocks noGrp="1"/>
          </p:cNvSpPr>
          <p:nvPr>
            <p:ph type="sldNum" sz="quarter" idx="5"/>
          </p:nvPr>
        </p:nvSpPr>
        <p:spPr/>
        <p:txBody>
          <a:bodyPr/>
          <a:lstStyle/>
          <a:p>
            <a:fld id="{83F14061-ACB8-4BA3-A124-D00F59BB9158}" type="slidenum">
              <a:rPr lang="en-US" smtClean="0"/>
              <a:t>9</a:t>
            </a:fld>
            <a:endParaRPr lang="en-US"/>
          </a:p>
        </p:txBody>
      </p:sp>
    </p:spTree>
    <p:extLst>
      <p:ext uri="{BB962C8B-B14F-4D97-AF65-F5344CB8AC3E}">
        <p14:creationId xmlns:p14="http://schemas.microsoft.com/office/powerpoint/2010/main" val="35584010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oleObject" Target="../embeddings/oleObject13.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oleObject" Target="../embeddings/oleObject138.bin"/><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emf"/><Relationship Id="rId5" Type="http://schemas.openxmlformats.org/officeDocument/2006/relationships/oleObject" Target="../embeddings/oleObject137.bin"/><Relationship Id="rId4"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oleObject" Target="../embeddings/oleObject140.bin"/><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oleObject" Target="../embeddings/oleObject142.bin"/><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1.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oleObject" Target="../embeddings/oleObject144.bin"/><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svg"/><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oleObject" Target="../embeddings/oleObject15.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63.xml"/><Relationship Id="rId7" Type="http://schemas.openxmlformats.org/officeDocument/2006/relationships/oleObject" Target="../embeddings/oleObject152.bin"/><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4.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oleObject" Target="../embeddings/oleObject17.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oleObject" Target="../embeddings/oleObject19.bin"/><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7.xml"/><Relationship Id="rId7" Type="http://schemas.openxmlformats.org/officeDocument/2006/relationships/oleObject" Target="../embeddings/oleObject21.bin"/><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 Id="rId9" Type="http://schemas.openxmlformats.org/officeDocument/2006/relationships/image" Target="../media/image6.sv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oleObject" Target="../embeddings/oleObject24.bin"/><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oleObject" Target="../embeddings/oleObject27.bin"/><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oleObject" Target="../embeddings/oleObject30.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oleObject" Target="../embeddings/oleObject32.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oleObject" Target="../embeddings/oleObject35.bin"/><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oleObject" Target="../embeddings/oleObject37.bin"/><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oleObject" Target="../embeddings/oleObject39.bin"/><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oleObject" Target="../embeddings/oleObject41.bin"/><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oleObject" Target="../embeddings/oleObject43.bin"/><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oleObject" Target="../embeddings/oleObject47.bin"/><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87.xml"/><Relationship Id="rId7" Type="http://schemas.openxmlformats.org/officeDocument/2006/relationships/image" Target="../media/image4.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oleObject" Target="../embeddings/oleObject55.bin"/><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5.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01.xml"/><Relationship Id="rId7" Type="http://schemas.openxmlformats.org/officeDocument/2006/relationships/oleObject" Target="../embeddings/oleObject58.bin"/><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oleObject" Target="../embeddings/oleObject60.bin"/><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oleObject" Target="../embeddings/oleObject62.bin"/><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oleObject" Target="../embeddings/oleObject64.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oleObject" Target="../embeddings/oleObject66.bin"/><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7.xml"/><Relationship Id="rId7" Type="http://schemas.openxmlformats.org/officeDocument/2006/relationships/oleObject" Target="../embeddings/oleObject68.bin"/><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2.xml"/><Relationship Id="rId9" Type="http://schemas.openxmlformats.org/officeDocument/2006/relationships/image" Target="../media/image6.sv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oleObject" Target="../embeddings/oleObject72.bin"/><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8.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oleObject" Target="../embeddings/oleObject75.bin"/><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oleObject" Target="../embeddings/oleObject80.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oleObject" Target="../embeddings/oleObject83.bin"/><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oleObject" Target="../embeddings/oleObject85.bin"/><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oleObject" Target="../embeddings/oleObject87.bin"/><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53.xml"/><Relationship Id="rId7" Type="http://schemas.openxmlformats.org/officeDocument/2006/relationships/oleObject" Target="../embeddings/oleObject89.bin"/><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oleObject" Target="../embeddings/oleObject91.bin"/><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sv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oleObject" Target="../embeddings/oleObject96.bin"/><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171.xml"/><Relationship Id="rId7" Type="http://schemas.openxmlformats.org/officeDocument/2006/relationships/image" Target="../media/image4.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oleObject" Target="../embeddings/oleObject104.bin"/><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9.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0.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oleObject" Target="../embeddings/oleObject107.bin"/><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oleObject" Target="../embeddings/oleObject109.bin"/><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11.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oleObject" Target="../embeddings/oleObject111.bin"/><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oleObject" Target="../embeddings/oleObject113.bin"/><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oleObject" Target="../embeddings/oleObject115.bin"/><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01.xml"/><Relationship Id="rId7" Type="http://schemas.openxmlformats.org/officeDocument/2006/relationships/oleObject" Target="../embeddings/oleObject117.bin"/><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Master" Target="../slideMasters/slideMaster3.xml"/><Relationship Id="rId9" Type="http://schemas.openxmlformats.org/officeDocument/2006/relationships/image" Target="../media/image6.sv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oleObject" Target="../embeddings/oleObject120.bin"/><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13.xml"/><Relationship Id="rId7" Type="http://schemas.openxmlformats.org/officeDocument/2006/relationships/oleObject" Target="../embeddings/oleObject123.bin"/><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oleObject" Target="../embeddings/oleObject126.bin"/><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1.emf"/><Relationship Id="rId5" Type="http://schemas.openxmlformats.org/officeDocument/2006/relationships/oleObject" Target="../embeddings/oleObject125.bin"/><Relationship Id="rId4"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oleObject" Target="../embeddings/oleObject128.bin"/><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9.svg"/><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236.xml"/><Relationship Id="rId7" Type="http://schemas.openxmlformats.org/officeDocument/2006/relationships/oleObject" Target="../embeddings/oleObject136.bin"/><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2"/>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3"/>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415862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2"/>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3"/>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372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2"/>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3"/>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8403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2"/>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US"/>
              <a:t>Click to edit Master title style</a:t>
            </a:r>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3"/>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7167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2"/>
            </p:custDataLst>
            <p:extLst>
              <p:ext uri="{D42A27DB-BD31-4B8C-83A1-F6EECF244321}">
                <p14:modId xmlns:p14="http://schemas.microsoft.com/office/powerpoint/2010/main" val="4143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3"/>
            </p:custDataLst>
            <p:extLst>
              <p:ext uri="{D42A27DB-BD31-4B8C-83A1-F6EECF244321}">
                <p14:modId xmlns:p14="http://schemas.microsoft.com/office/powerpoint/2010/main" val="216842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US"/>
              <a:t>Click to edit Master title style</a:t>
            </a:r>
          </a:p>
        </p:txBody>
      </p:sp>
    </p:spTree>
    <p:custDataLst>
      <p:tags r:id="rId1"/>
    </p:custDataLst>
    <p:extLst>
      <p:ext uri="{BB962C8B-B14F-4D97-AF65-F5344CB8AC3E}">
        <p14:creationId xmlns:p14="http://schemas.microsoft.com/office/powerpoint/2010/main" val="248532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2"/>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3"/>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44852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1345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4/1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72868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1345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4/1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754831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accent3"/>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1345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4/1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309973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3_Section Header">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13459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4/1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231618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194341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5062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97868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US"/>
              <a:t>Click to edit Master title style</a:t>
            </a:r>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2984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GB"/>
              <a:t>Click to edit Master title style</a:t>
            </a:r>
            <a:endParaRPr lang="en-US"/>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7132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2"/>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3"/>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5161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609150" y="1427554"/>
            <a:ext cx="1985247" cy="4557320"/>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2830224" y="1427553"/>
            <a:ext cx="1985247" cy="4557319"/>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5040601" y="1427553"/>
            <a:ext cx="1985247" cy="4557319"/>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7250978" y="1410504"/>
            <a:ext cx="1965982" cy="455298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793436" y="1650396"/>
            <a:ext cx="1800961" cy="3780050"/>
          </a:xfrm>
        </p:spPr>
        <p:txBody>
          <a:bodyPr anchor="ctr"/>
          <a:lstStyle>
            <a:lvl1pPr marL="0" indent="0">
              <a:buClr>
                <a:schemeClr val="bg1"/>
              </a:buClr>
              <a:buNone/>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7612355"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9812598"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12120502"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2" name="Rectangle: Top Corners Rounded 57">
            <a:extLst>
              <a:ext uri="{FF2B5EF4-FFF2-40B4-BE49-F238E27FC236}">
                <a16:creationId xmlns:a16="http://schemas.microsoft.com/office/drawing/2014/main" id="{3E10D0CD-065F-F137-7C9D-6C7664EC8CC0}"/>
              </a:ext>
            </a:extLst>
          </p:cNvPr>
          <p:cNvSpPr>
            <a:spLocks/>
          </p:cNvSpPr>
          <p:nvPr userDrawn="1"/>
        </p:nvSpPr>
        <p:spPr>
          <a:xfrm>
            <a:off x="9418068" y="1410504"/>
            <a:ext cx="1965982" cy="4523220"/>
          </a:xfrm>
          <a:prstGeom prst="round2SameRect">
            <a:avLst>
              <a:gd name="adj1" fmla="val 0"/>
              <a:gd name="adj2" fmla="val 10618"/>
            </a:avLst>
          </a:prstGeom>
          <a:solidFill>
            <a:schemeClr val="accent5"/>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566DC14A-F53D-A7B6-DEE7-D1A431B06443}"/>
              </a:ext>
            </a:extLst>
          </p:cNvPr>
          <p:cNvSpPr>
            <a:spLocks noGrp="1"/>
          </p:cNvSpPr>
          <p:nvPr>
            <p:ph type="body" sz="quarter" idx="21"/>
          </p:nvPr>
        </p:nvSpPr>
        <p:spPr>
          <a:xfrm>
            <a:off x="14315280"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17" name="Title 6">
            <a:extLst>
              <a:ext uri="{FF2B5EF4-FFF2-40B4-BE49-F238E27FC236}">
                <a16:creationId xmlns:a16="http://schemas.microsoft.com/office/drawing/2014/main" id="{3F5FE087-75A6-3CD3-28FF-70256547F655}"/>
              </a:ext>
            </a:extLst>
          </p:cNvPr>
          <p:cNvSpPr>
            <a:spLocks noGrp="1"/>
          </p:cNvSpPr>
          <p:nvPr>
            <p:ph type="title"/>
          </p:nvPr>
        </p:nvSpPr>
        <p:spPr>
          <a:xfrm>
            <a:off x="457200" y="358160"/>
            <a:ext cx="11277600" cy="657840"/>
          </a:xfrm>
        </p:spPr>
        <p:txBody>
          <a:bodyPr/>
          <a:lstStyle/>
          <a:p>
            <a:r>
              <a:rPr lang="en-US"/>
              <a:t>Click to edit Master title style</a:t>
            </a:r>
          </a:p>
        </p:txBody>
      </p:sp>
    </p:spTree>
    <p:custDataLst>
      <p:tags r:id="rId1"/>
    </p:custDataLst>
    <p:extLst>
      <p:ext uri="{BB962C8B-B14F-4D97-AF65-F5344CB8AC3E}">
        <p14:creationId xmlns:p14="http://schemas.microsoft.com/office/powerpoint/2010/main" val="91061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609150" y="1427555"/>
            <a:ext cx="3599996" cy="2244560"/>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4355021" y="1427556"/>
            <a:ext cx="3599996" cy="2244560"/>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8082680" y="1427555"/>
            <a:ext cx="3613324" cy="2244560"/>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609150" y="3823108"/>
            <a:ext cx="3599996" cy="2244560"/>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1023404" y="1538975"/>
            <a:ext cx="1800961" cy="3780050"/>
          </a:xfrm>
        </p:spPr>
        <p:txBody>
          <a:bodyPr anchor="ctr"/>
          <a:lstStyle>
            <a:lvl1pPr marL="0" indent="0">
              <a:buClr>
                <a:schemeClr val="bg1"/>
              </a:buClr>
              <a:buNone/>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7612355"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9812598" y="2470721"/>
            <a:ext cx="1800961" cy="3780050"/>
          </a:xfrm>
        </p:spPr>
        <p:txBody>
          <a:bodyPr anchor="ctr"/>
          <a:lstStyle>
            <a:lvl1pPr marL="0" indent="0">
              <a:buClr>
                <a:schemeClr val="bg1"/>
              </a:buClr>
              <a:buNone/>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12120502"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2" name="Rectangle: Top Corners Rounded 57">
            <a:extLst>
              <a:ext uri="{FF2B5EF4-FFF2-40B4-BE49-F238E27FC236}">
                <a16:creationId xmlns:a16="http://schemas.microsoft.com/office/drawing/2014/main" id="{3E10D0CD-065F-F137-7C9D-6C7664EC8CC0}"/>
              </a:ext>
            </a:extLst>
          </p:cNvPr>
          <p:cNvSpPr>
            <a:spLocks/>
          </p:cNvSpPr>
          <p:nvPr userDrawn="1"/>
        </p:nvSpPr>
        <p:spPr>
          <a:xfrm>
            <a:off x="4355021" y="3823109"/>
            <a:ext cx="3599996" cy="2244560"/>
          </a:xfrm>
          <a:prstGeom prst="round2SameRect">
            <a:avLst>
              <a:gd name="adj1" fmla="val 0"/>
              <a:gd name="adj2" fmla="val 10618"/>
            </a:avLst>
          </a:prstGeom>
          <a:solidFill>
            <a:schemeClr val="accent5"/>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5">
            <a:extLst>
              <a:ext uri="{FF2B5EF4-FFF2-40B4-BE49-F238E27FC236}">
                <a16:creationId xmlns:a16="http://schemas.microsoft.com/office/drawing/2014/main" id="{566DC14A-F53D-A7B6-DEE7-D1A431B06443}"/>
              </a:ext>
            </a:extLst>
          </p:cNvPr>
          <p:cNvSpPr>
            <a:spLocks noGrp="1"/>
          </p:cNvSpPr>
          <p:nvPr>
            <p:ph type="body" sz="quarter" idx="21"/>
          </p:nvPr>
        </p:nvSpPr>
        <p:spPr>
          <a:xfrm>
            <a:off x="14315280" y="2021990"/>
            <a:ext cx="1788086" cy="3780050"/>
          </a:xfrm>
        </p:spPr>
        <p:txBody>
          <a:bodyPr anchor="ctr"/>
          <a:lstStyle>
            <a:lvl1pPr marL="0" indent="0" rtl="0">
              <a:buClr>
                <a:schemeClr val="bg1"/>
              </a:buClr>
              <a:buNone/>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17" name="Title 6">
            <a:extLst>
              <a:ext uri="{FF2B5EF4-FFF2-40B4-BE49-F238E27FC236}">
                <a16:creationId xmlns:a16="http://schemas.microsoft.com/office/drawing/2014/main" id="{3F5FE087-75A6-3CD3-28FF-70256547F655}"/>
              </a:ext>
            </a:extLst>
          </p:cNvPr>
          <p:cNvSpPr>
            <a:spLocks noGrp="1"/>
          </p:cNvSpPr>
          <p:nvPr>
            <p:ph type="title"/>
          </p:nvPr>
        </p:nvSpPr>
        <p:spPr>
          <a:xfrm>
            <a:off x="457200" y="358160"/>
            <a:ext cx="11277600" cy="657840"/>
          </a:xfrm>
        </p:spPr>
        <p:txBody>
          <a:bodyPr/>
          <a:lstStyle/>
          <a:p>
            <a:r>
              <a:rPr lang="en-US"/>
              <a:t>Click to edit Master title style</a:t>
            </a:r>
          </a:p>
        </p:txBody>
      </p:sp>
      <p:sp>
        <p:nvSpPr>
          <p:cNvPr id="7" name="Rectangle: Top Corners Rounded 57">
            <a:extLst>
              <a:ext uri="{FF2B5EF4-FFF2-40B4-BE49-F238E27FC236}">
                <a16:creationId xmlns:a16="http://schemas.microsoft.com/office/drawing/2014/main" id="{B101E9B7-8B8D-FBEB-3553-1D07F5A22B5B}"/>
              </a:ext>
            </a:extLst>
          </p:cNvPr>
          <p:cNvSpPr>
            <a:spLocks/>
          </p:cNvSpPr>
          <p:nvPr userDrawn="1"/>
        </p:nvSpPr>
        <p:spPr>
          <a:xfrm>
            <a:off x="8082680" y="3825538"/>
            <a:ext cx="3599996" cy="2244560"/>
          </a:xfrm>
          <a:prstGeom prst="round2SameRect">
            <a:avLst>
              <a:gd name="adj1" fmla="val 0"/>
              <a:gd name="adj2" fmla="val 10618"/>
            </a:avLst>
          </a:prstGeom>
          <a:solidFill>
            <a:schemeClr val="accent6"/>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63987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1_Two Content">
    <p:spTree>
      <p:nvGrpSpPr>
        <p:cNvPr id="1" name=""/>
        <p:cNvGrpSpPr/>
        <p:nvPr/>
      </p:nvGrpSpPr>
      <p:grpSpPr>
        <a:xfrm>
          <a:off x="0" y="0"/>
          <a:ext cx="0" cy="0"/>
          <a:chOff x="0" y="0"/>
          <a:chExt cx="0" cy="0"/>
        </a:xfrm>
      </p:grpSpPr>
      <p:sp>
        <p:nvSpPr>
          <p:cNvPr id="262" name="Freeform: Shape 20"/>
          <p:cNvSpPr/>
          <p:nvPr/>
        </p:nvSpPr>
        <p:spPr>
          <a:xfrm>
            <a:off x="5819187" y="2073359"/>
            <a:ext cx="6372815" cy="4784641"/>
          </a:xfrm>
          <a:custGeom>
            <a:avLst/>
            <a:gdLst/>
            <a:ahLst/>
            <a:cxnLst>
              <a:cxn ang="0">
                <a:pos x="wd2" y="hd2"/>
              </a:cxn>
              <a:cxn ang="5400000">
                <a:pos x="wd2" y="hd2"/>
              </a:cxn>
              <a:cxn ang="10800000">
                <a:pos x="wd2" y="hd2"/>
              </a:cxn>
              <a:cxn ang="16200000">
                <a:pos x="wd2" y="hd2"/>
              </a:cxn>
            </a:cxnLst>
            <a:rect l="0" t="0" r="r" b="b"/>
            <a:pathLst>
              <a:path w="21600" h="21569" extrusionOk="0">
                <a:moveTo>
                  <a:pt x="5351" y="1"/>
                </a:moveTo>
                <a:cubicBezTo>
                  <a:pt x="5484" y="5"/>
                  <a:pt x="5619" y="28"/>
                  <a:pt x="5753" y="69"/>
                </a:cubicBezTo>
                <a:lnTo>
                  <a:pt x="21600" y="4893"/>
                </a:lnTo>
                <a:lnTo>
                  <a:pt x="21600" y="21569"/>
                </a:lnTo>
                <a:lnTo>
                  <a:pt x="0" y="21569"/>
                </a:lnTo>
                <a:lnTo>
                  <a:pt x="3355" y="2067"/>
                </a:lnTo>
                <a:cubicBezTo>
                  <a:pt x="3567" y="803"/>
                  <a:pt x="4420" y="-31"/>
                  <a:pt x="5351" y="1"/>
                </a:cubicBezTo>
                <a:close/>
              </a:path>
            </a:pathLst>
          </a:custGeom>
          <a:solidFill>
            <a:schemeClr val="accent2">
              <a:alpha val="20000"/>
            </a:schemeClr>
          </a:solidFill>
          <a:ln w="12700">
            <a:miter lim="400000"/>
          </a:ln>
        </p:spPr>
        <p:txBody>
          <a:bodyPr lIns="45719" rIns="45719" anchor="ctr"/>
          <a:lstStyle/>
          <a:p>
            <a:endParaRPr/>
          </a:p>
        </p:txBody>
      </p:sp>
      <p:sp>
        <p:nvSpPr>
          <p:cNvPr id="263" name="Freeform: Shape 17"/>
          <p:cNvSpPr/>
          <p:nvPr/>
        </p:nvSpPr>
        <p:spPr>
          <a:xfrm>
            <a:off x="-1" y="0"/>
            <a:ext cx="6691020" cy="5634745"/>
          </a:xfrm>
          <a:custGeom>
            <a:avLst/>
            <a:gdLst/>
            <a:ahLst/>
            <a:cxnLst>
              <a:cxn ang="0">
                <a:pos x="wd2" y="hd2"/>
              </a:cxn>
              <a:cxn ang="5400000">
                <a:pos x="wd2" y="hd2"/>
              </a:cxn>
              <a:cxn ang="10800000">
                <a:pos x="wd2" y="hd2"/>
              </a:cxn>
              <a:cxn ang="16200000">
                <a:pos x="wd2" y="hd2"/>
              </a:cxn>
            </a:cxnLst>
            <a:rect l="0" t="0" r="r" b="b"/>
            <a:pathLst>
              <a:path w="21600" h="21574" extrusionOk="0">
                <a:moveTo>
                  <a:pt x="48" y="0"/>
                </a:moveTo>
                <a:lnTo>
                  <a:pt x="21600" y="0"/>
                </a:lnTo>
                <a:lnTo>
                  <a:pt x="17776" y="19818"/>
                </a:lnTo>
                <a:cubicBezTo>
                  <a:pt x="17575" y="20891"/>
                  <a:pt x="16762" y="21600"/>
                  <a:pt x="15875" y="21573"/>
                </a:cubicBezTo>
                <a:cubicBezTo>
                  <a:pt x="15749" y="21569"/>
                  <a:pt x="15620" y="21550"/>
                  <a:pt x="15492" y="21515"/>
                </a:cubicBezTo>
                <a:lnTo>
                  <a:pt x="0" y="17310"/>
                </a:lnTo>
                <a:lnTo>
                  <a:pt x="0" y="902"/>
                </a:lnTo>
                <a:close/>
              </a:path>
            </a:pathLst>
          </a:custGeom>
          <a:solidFill>
            <a:schemeClr val="accent3">
              <a:alpha val="10000"/>
            </a:schemeClr>
          </a:solidFill>
          <a:ln w="12700">
            <a:miter lim="400000"/>
          </a:ln>
        </p:spPr>
        <p:txBody>
          <a:bodyPr lIns="45719" rIns="45719" anchor="ctr"/>
          <a:lstStyle/>
          <a:p>
            <a:endParaRPr/>
          </a:p>
        </p:txBody>
      </p:sp>
      <p:sp>
        <p:nvSpPr>
          <p:cNvPr id="264" name="Title Text"/>
          <p:cNvSpPr txBox="1">
            <a:spLocks noGrp="1"/>
          </p:cNvSpPr>
          <p:nvPr>
            <p:ph type="title"/>
          </p:nvPr>
        </p:nvSpPr>
        <p:spPr>
          <a:xfrm>
            <a:off x="457198" y="358159"/>
            <a:ext cx="11277601" cy="657841"/>
          </a:xfrm>
          <a:prstGeom prst="rect">
            <a:avLst/>
          </a:prstGeom>
        </p:spPr>
        <p:txBody>
          <a:bodyPr/>
          <a:lstStyle/>
          <a:p>
            <a:r>
              <a:t>Title Text</a:t>
            </a:r>
          </a:p>
        </p:txBody>
      </p:sp>
      <p:sp>
        <p:nvSpPr>
          <p:cNvPr id="265" name="Body Level One…"/>
          <p:cNvSpPr txBox="1">
            <a:spLocks noGrp="1"/>
          </p:cNvSpPr>
          <p:nvPr>
            <p:ph type="body" sz="quarter" idx="1"/>
          </p:nvPr>
        </p:nvSpPr>
        <p:spPr>
          <a:xfrm>
            <a:off x="486227" y="1201774"/>
            <a:ext cx="4695751" cy="3403394"/>
          </a:xfrm>
          <a:prstGeom prst="rect">
            <a:avLst/>
          </a:prstGeom>
        </p:spPr>
        <p:txBody>
          <a:bodyPr anchor="ctr"/>
          <a:lstStyle>
            <a:lvl1pPr>
              <a:defRPr sz="2400"/>
            </a:lvl1pPr>
            <a:lvl2pPr marL="706581" indent="-249381">
              <a:defRPr sz="2400"/>
            </a:lvl2pPr>
            <a:lvl3pPr marL="1163781" indent="-249381">
              <a:defRPr sz="2400"/>
            </a:lvl3pPr>
            <a:lvl4pPr marL="1620981" indent="-249381">
              <a:defRPr sz="2400"/>
            </a:lvl4pPr>
            <a:lvl5pPr marL="2078181" indent="-249381">
              <a:defRPr sz="2400"/>
            </a:lvl5pPr>
          </a:lstStyle>
          <a:p>
            <a:r>
              <a:t>Body Level One</a:t>
            </a:r>
          </a:p>
          <a:p>
            <a:pPr lvl="1"/>
            <a:r>
              <a:t>Body Level Two</a:t>
            </a:r>
          </a:p>
          <a:p>
            <a:pPr lvl="2"/>
            <a:r>
              <a:t>Body Level Three</a:t>
            </a:r>
          </a:p>
          <a:p>
            <a:pPr lvl="3"/>
            <a:r>
              <a:t>Body Level Four</a:t>
            </a:r>
          </a:p>
          <a:p>
            <a:pPr lvl="4"/>
            <a:r>
              <a:t>Body Level Five</a:t>
            </a:r>
          </a:p>
        </p:txBody>
      </p:sp>
      <p:sp>
        <p:nvSpPr>
          <p:cNvPr id="26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02392282"/>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FE0006-A89F-632B-4755-B36FB4FBA5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FEB4CB7-ED6A-793C-4C05-8C99B52E06E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E00A178-FCA0-DE9F-2CED-8F0EEB097761}"/>
              </a:ext>
            </a:extLst>
          </p:cNvPr>
          <p:cNvSpPr>
            <a:spLocks noGrp="1"/>
          </p:cNvSpPr>
          <p:nvPr>
            <p:ph type="dt" sz="half" idx="10"/>
          </p:nvPr>
        </p:nvSpPr>
        <p:spPr/>
        <p:txBody>
          <a:bodyPr/>
          <a:lstStyle/>
          <a:p>
            <a:fld id="{BF8B03F9-4E0F-6044-89B0-B675F16E8735}" type="datetimeFigureOut">
              <a:rPr lang="en-US" smtClean="0"/>
              <a:t>4/13/2023</a:t>
            </a:fld>
            <a:endParaRPr lang="en-US"/>
          </a:p>
        </p:txBody>
      </p:sp>
      <p:sp>
        <p:nvSpPr>
          <p:cNvPr id="5" name="Footer Placeholder 4">
            <a:extLst>
              <a:ext uri="{FF2B5EF4-FFF2-40B4-BE49-F238E27FC236}">
                <a16:creationId xmlns:a16="http://schemas.microsoft.com/office/drawing/2014/main" id="{25467B84-0177-2336-D8DF-AC2589DF1A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BC4871-2F47-712A-5A4A-E1213BF9A454}"/>
              </a:ext>
            </a:extLst>
          </p:cNvPr>
          <p:cNvSpPr>
            <a:spLocks noGrp="1"/>
          </p:cNvSpPr>
          <p:nvPr>
            <p:ph type="sldNum" sz="quarter" idx="12"/>
          </p:nvPr>
        </p:nvSpPr>
        <p:spPr/>
        <p:txBody>
          <a:bodyPr/>
          <a:lstStyle/>
          <a:p>
            <a:fld id="{0596E2D1-137B-2046-88D7-9FA54447862E}" type="slidenum">
              <a:rPr lang="en-US" smtClean="0"/>
              <a:t>‹#›</a:t>
            </a:fld>
            <a:endParaRPr lang="en-US"/>
          </a:p>
        </p:txBody>
      </p:sp>
    </p:spTree>
    <p:extLst>
      <p:ext uri="{BB962C8B-B14F-4D97-AF65-F5344CB8AC3E}">
        <p14:creationId xmlns:p14="http://schemas.microsoft.com/office/powerpoint/2010/main" val="3465520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GB"/>
              <a:t>Click to edit Master title style</a:t>
            </a:r>
            <a:endParaRPr lang="en-US"/>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04065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2"/>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4/1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3"/>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271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2"/>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3"/>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GB"/>
              <a:t>Click to edit Master title style</a:t>
            </a:r>
            <a:endParaRPr lang="en-US"/>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362304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2"/>
            </p:custDataLst>
            <p:extLst>
              <p:ext uri="{D42A27DB-BD31-4B8C-83A1-F6EECF244321}">
                <p14:modId xmlns:p14="http://schemas.microsoft.com/office/powerpoint/2010/main" val="130425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GB"/>
              <a:t>Click to edit Master title style</a:t>
            </a: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1"/>
    </p:custDataLst>
    <p:extLst>
      <p:ext uri="{BB962C8B-B14F-4D97-AF65-F5344CB8AC3E}">
        <p14:creationId xmlns:p14="http://schemas.microsoft.com/office/powerpoint/2010/main" val="174694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4/1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GB"/>
              <a:t>Click to edit Master title style</a:t>
            </a:r>
            <a:endParaRPr lang="en-US"/>
          </a:p>
        </p:txBody>
      </p:sp>
    </p:spTree>
    <p:custDataLst>
      <p:tags r:id="rId1"/>
    </p:custDataLst>
    <p:extLst>
      <p:ext uri="{BB962C8B-B14F-4D97-AF65-F5344CB8AC3E}">
        <p14:creationId xmlns:p14="http://schemas.microsoft.com/office/powerpoint/2010/main" val="70690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2"/>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3"/>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634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2"/>
            </p:custDataLst>
            <p:extLst>
              <p:ext uri="{D42A27DB-BD31-4B8C-83A1-F6EECF244321}">
                <p14:modId xmlns:p14="http://schemas.microsoft.com/office/powerpoint/2010/main" val="5748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4/1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21033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13505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2"/>
            </p:custDataLst>
            <p:extLst>
              <p:ext uri="{D42A27DB-BD31-4B8C-83A1-F6EECF244321}">
                <p14:modId xmlns:p14="http://schemas.microsoft.com/office/powerpoint/2010/main" val="404980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GB"/>
              <a:t>Click to edit Master title style</a:t>
            </a:r>
            <a:endParaRPr lang="en-US"/>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52422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2"/>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GB"/>
              <a:t>Click to edit Master title style</a:t>
            </a:r>
            <a:endParaRPr lang="en-US"/>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3"/>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00750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2"/>
            </p:custDataLst>
            <p:extLst>
              <p:ext uri="{D42A27DB-BD31-4B8C-83A1-F6EECF244321}">
                <p14:modId xmlns:p14="http://schemas.microsoft.com/office/powerpoint/2010/main" val="187500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GB"/>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8484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2"/>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3"/>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3306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2"/>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GB"/>
              <a:t>Click to edit Master title style</a:t>
            </a:r>
            <a:endParaRPr lang="en-US"/>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3"/>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45724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GB"/>
              <a:t>Click to edit Master title style</a:t>
            </a:r>
            <a:endParaRPr lang="en-US"/>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42937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2"/>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3"/>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924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2"/>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GB"/>
              <a:t>Click to edit Master title style</a:t>
            </a:r>
            <a:endParaRPr lang="en-US"/>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3"/>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8403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2"/>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GB"/>
              <a:t>Click to edit Master title style</a:t>
            </a:r>
            <a:endParaRPr lang="en-US"/>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3"/>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7167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2"/>
            </p:custDataLst>
            <p:extLst>
              <p:ext uri="{D42A27DB-BD31-4B8C-83A1-F6EECF244321}">
                <p14:modId xmlns:p14="http://schemas.microsoft.com/office/powerpoint/2010/main" val="4143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3"/>
            </p:custDataLst>
            <p:extLst>
              <p:ext uri="{D42A27DB-BD31-4B8C-83A1-F6EECF244321}">
                <p14:modId xmlns:p14="http://schemas.microsoft.com/office/powerpoint/2010/main" val="216842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GB"/>
              <a:t>Click to edit Master title style</a:t>
            </a:r>
            <a:endParaRPr lang="en-US"/>
          </a:p>
        </p:txBody>
      </p:sp>
    </p:spTree>
    <p:custDataLst>
      <p:tags r:id="rId1"/>
    </p:custDataLst>
    <p:extLst>
      <p:ext uri="{BB962C8B-B14F-4D97-AF65-F5344CB8AC3E}">
        <p14:creationId xmlns:p14="http://schemas.microsoft.com/office/powerpoint/2010/main" val="248532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2"/>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3"/>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44852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2"/>
            </p:custDataLst>
            <p:extLst>
              <p:ext uri="{D42A27DB-BD31-4B8C-83A1-F6EECF244321}">
                <p14:modId xmlns:p14="http://schemas.microsoft.com/office/powerpoint/2010/main" val="1451674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4/1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375161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194341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GB"/>
              <a:t>Click to edit Master title style</a:t>
            </a:r>
            <a:endParaRPr lang="en-US"/>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5062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97868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GB"/>
              <a:t>Click to edit Master title style</a:t>
            </a:r>
            <a:endParaRPr lang="en-US"/>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2984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2"/>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3"/>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5161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2"/>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3"/>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415862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2"/>
            </p:custDataLst>
            <p:extLst>
              <p:ext uri="{D42A27DB-BD31-4B8C-83A1-F6EECF244321}">
                <p14:modId xmlns:p14="http://schemas.microsoft.com/office/powerpoint/2010/main" val="404980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GB"/>
              <a:t>Click to edit Master title style</a:t>
            </a:r>
            <a:endParaRPr lang="en-US"/>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52422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2"/>
            </p:custDataLst>
            <p:extLst>
              <p:ext uri="{D42A27DB-BD31-4B8C-83A1-F6EECF244321}">
                <p14:modId xmlns:p14="http://schemas.microsoft.com/office/powerpoint/2010/main" val="1451674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4/1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375161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2"/>
            </p:custDataLst>
            <p:extLst>
              <p:ext uri="{D42A27DB-BD31-4B8C-83A1-F6EECF244321}">
                <p14:modId xmlns:p14="http://schemas.microsoft.com/office/powerpoint/2010/main" val="354297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4/1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GB"/>
              <a:t>Click to edit Master title style</a:t>
            </a:r>
            <a:endParaRPr lang="en-US"/>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3"/>
            </p:custDataLst>
            <p:extLst>
              <p:ext uri="{D42A27DB-BD31-4B8C-83A1-F6EECF244321}">
                <p14:modId xmlns:p14="http://schemas.microsoft.com/office/powerpoint/2010/main" val="146350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1"/>
    </p:custDataLst>
    <p:extLst>
      <p:ext uri="{BB962C8B-B14F-4D97-AF65-F5344CB8AC3E}">
        <p14:creationId xmlns:p14="http://schemas.microsoft.com/office/powerpoint/2010/main" val="138707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38501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GB"/>
              <a:t>Click to edit Master title style</a:t>
            </a:r>
            <a:endParaRPr lang="en-US"/>
          </a:p>
        </p:txBody>
      </p:sp>
    </p:spTree>
    <p:custDataLst>
      <p:tags r:id="rId1"/>
    </p:custDataLst>
    <p:extLst>
      <p:ext uri="{BB962C8B-B14F-4D97-AF65-F5344CB8AC3E}">
        <p14:creationId xmlns:p14="http://schemas.microsoft.com/office/powerpoint/2010/main" val="23772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2"/>
            </p:custDataLst>
            <p:extLst>
              <p:ext uri="{D42A27DB-BD31-4B8C-83A1-F6EECF244321}">
                <p14:modId xmlns:p14="http://schemas.microsoft.com/office/powerpoint/2010/main" val="132126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4/1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GB"/>
              <a:t>Click to edit Master title style</a:t>
            </a:r>
            <a:endParaRPr lang="en-US"/>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1"/>
    </p:custDataLst>
    <p:extLst>
      <p:ext uri="{BB962C8B-B14F-4D97-AF65-F5344CB8AC3E}">
        <p14:creationId xmlns:p14="http://schemas.microsoft.com/office/powerpoint/2010/main" val="8793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2"/>
            </p:custDataLst>
            <p:extLst>
              <p:ext uri="{D42A27DB-BD31-4B8C-83A1-F6EECF244321}">
                <p14:modId xmlns:p14="http://schemas.microsoft.com/office/powerpoint/2010/main" val="354297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4/1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GB"/>
              <a:t>Click to edit Master title style</a:t>
            </a:r>
            <a:endParaRPr lang="en-US"/>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3"/>
            </p:custDataLst>
            <p:extLst>
              <p:ext uri="{D42A27DB-BD31-4B8C-83A1-F6EECF244321}">
                <p14:modId xmlns:p14="http://schemas.microsoft.com/office/powerpoint/2010/main" val="146350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1"/>
    </p:custDataLst>
    <p:extLst>
      <p:ext uri="{BB962C8B-B14F-4D97-AF65-F5344CB8AC3E}">
        <p14:creationId xmlns:p14="http://schemas.microsoft.com/office/powerpoint/2010/main" val="138707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2"/>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3"/>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7059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GB"/>
              <a:t>Click to edit Master title style</a:t>
            </a:r>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GB"/>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GB"/>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GB"/>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GB"/>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45482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2"/>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3"/>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372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GB"/>
              <a:t>Click to edit Master title style</a:t>
            </a:r>
            <a:endParaRPr lang="en-US"/>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7132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GB"/>
              <a:t>Click to edit Master title style</a:t>
            </a:r>
            <a:endParaRPr lang="en-US"/>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04065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2"/>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4/1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3"/>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271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2"/>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3"/>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GB"/>
              <a:t>Click to edit Master title style</a:t>
            </a:r>
            <a:endParaRPr lang="en-US"/>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362304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ive Data 2">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B2EAA9-DAB3-E159-7468-844A7E83ED62}"/>
              </a:ext>
            </a:extLst>
          </p:cNvPr>
          <p:cNvGraphicFramePr>
            <a:graphicFrameLocks noChangeAspect="1"/>
          </p:cNvGraphicFramePr>
          <p:nvPr userDrawn="1">
            <p:custDataLst>
              <p:tags r:id="rId2"/>
            </p:custDataLst>
            <p:extLst>
              <p:ext uri="{D42A27DB-BD31-4B8C-83A1-F6EECF244321}">
                <p14:modId xmlns:p14="http://schemas.microsoft.com/office/powerpoint/2010/main" val="2189361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93B2EAA9-DAB3-E159-7468-844A7E83ED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72A5BA17-3AEF-5EC0-34B2-E8F3E91AA9E1}"/>
              </a:ext>
            </a:extLst>
          </p:cNvPr>
          <p:cNvSpPr>
            <a:spLocks noGrp="1"/>
          </p:cNvSpPr>
          <p:nvPr>
            <p:ph type="body" sz="quarter" idx="14" hasCustomPrompt="1"/>
          </p:nvPr>
        </p:nvSpPr>
        <p:spPr>
          <a:xfrm>
            <a:off x="6942582" y="2092770"/>
            <a:ext cx="4792217" cy="1191768"/>
          </a:xfrm>
          <a:solidFill>
            <a:schemeClr val="bg1"/>
          </a:solidFill>
          <a:effectLst>
            <a:outerShdw blurRad="127000" sx="102000" sy="102000" algn="ctr" rotWithShape="0">
              <a:prstClr val="black">
                <a:alpha val="5000"/>
              </a:prstClr>
            </a:outerShdw>
          </a:effectLst>
        </p:spPr>
        <p:txBody>
          <a:bodyPr lIns="540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98750B37-0989-E7A4-8B6C-F4CBB590EF77}"/>
              </a:ext>
            </a:extLst>
          </p:cNvPr>
          <p:cNvSpPr>
            <a:spLocks noGrp="1"/>
          </p:cNvSpPr>
          <p:nvPr>
            <p:ph type="body" sz="quarter" idx="15" hasCustomPrompt="1"/>
          </p:nvPr>
        </p:nvSpPr>
        <p:spPr>
          <a:xfrm>
            <a:off x="6942582" y="3496913"/>
            <a:ext cx="4792217" cy="1191768"/>
          </a:xfrm>
          <a:solidFill>
            <a:schemeClr val="bg1"/>
          </a:solidFill>
          <a:effectLst>
            <a:outerShdw blurRad="127000" sx="102000" sy="102000" algn="ctr" rotWithShape="0">
              <a:prstClr val="black">
                <a:alpha val="5000"/>
              </a:prstClr>
            </a:outerShdw>
          </a:effectLst>
        </p:spPr>
        <p:txBody>
          <a:bodyPr lIns="540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49B161B1-249C-A9E0-44DF-88897E9F1414}"/>
              </a:ext>
            </a:extLst>
          </p:cNvPr>
          <p:cNvSpPr>
            <a:spLocks noGrp="1"/>
          </p:cNvSpPr>
          <p:nvPr>
            <p:ph type="body" sz="quarter" idx="16" hasCustomPrompt="1"/>
          </p:nvPr>
        </p:nvSpPr>
        <p:spPr>
          <a:xfrm>
            <a:off x="6942582" y="4901057"/>
            <a:ext cx="4792217" cy="1191768"/>
          </a:xfrm>
          <a:solidFill>
            <a:schemeClr val="bg1"/>
          </a:solidFill>
          <a:effectLst>
            <a:outerShdw blurRad="127000" sx="102000" sy="102000" algn="ctr" rotWithShape="0">
              <a:prstClr val="black">
                <a:alpha val="5000"/>
              </a:prstClr>
            </a:outerShdw>
          </a:effectLst>
        </p:spPr>
        <p:txBody>
          <a:bodyPr lIns="540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6F6DC26B-1DED-4AC2-9112-9802C41DEB1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6" name="Title 5">
            <a:extLst>
              <a:ext uri="{FF2B5EF4-FFF2-40B4-BE49-F238E27FC236}">
                <a16:creationId xmlns:a16="http://schemas.microsoft.com/office/drawing/2014/main" id="{7CB02D8F-8625-6F1A-B23E-FB3622301071}"/>
              </a:ext>
            </a:extLst>
          </p:cNvPr>
          <p:cNvSpPr>
            <a:spLocks noGrp="1"/>
          </p:cNvSpPr>
          <p:nvPr>
            <p:ph type="title"/>
          </p:nvPr>
        </p:nvSpPr>
        <p:spPr>
          <a:xfrm>
            <a:off x="6942580" y="383560"/>
            <a:ext cx="4792219" cy="1076940"/>
          </a:xfrm>
        </p:spPr>
        <p:txBody>
          <a:bodyPr vert="horz" anchor="ctr" anchorCtr="0"/>
          <a:lstStyle/>
          <a:p>
            <a:r>
              <a:rPr lang="en-GB"/>
              <a:t>Click to edit Master title style</a:t>
            </a:r>
            <a:endParaRPr lang="en-US"/>
          </a:p>
        </p:txBody>
      </p:sp>
    </p:spTree>
    <p:custDataLst>
      <p:tags r:id="rId1"/>
    </p:custDataLst>
    <p:extLst>
      <p:ext uri="{BB962C8B-B14F-4D97-AF65-F5344CB8AC3E}">
        <p14:creationId xmlns:p14="http://schemas.microsoft.com/office/powerpoint/2010/main" val="162855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2"/>
            </p:custDataLst>
            <p:extLst>
              <p:ext uri="{D42A27DB-BD31-4B8C-83A1-F6EECF244321}">
                <p14:modId xmlns:p14="http://schemas.microsoft.com/office/powerpoint/2010/main" val="130425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GB"/>
              <a:t>Click to edit Master title style</a:t>
            </a: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1"/>
    </p:custDataLst>
    <p:extLst>
      <p:ext uri="{BB962C8B-B14F-4D97-AF65-F5344CB8AC3E}">
        <p14:creationId xmlns:p14="http://schemas.microsoft.com/office/powerpoint/2010/main" val="174694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4/1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GB"/>
              <a:t>Click to edit Master title style</a:t>
            </a:r>
            <a:endParaRPr lang="en-US"/>
          </a:p>
        </p:txBody>
      </p:sp>
    </p:spTree>
    <p:custDataLst>
      <p:tags r:id="rId1"/>
    </p:custDataLst>
    <p:extLst>
      <p:ext uri="{BB962C8B-B14F-4D97-AF65-F5344CB8AC3E}">
        <p14:creationId xmlns:p14="http://schemas.microsoft.com/office/powerpoint/2010/main" val="70690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38501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2"/>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3"/>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634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2"/>
            </p:custDataLst>
            <p:extLst>
              <p:ext uri="{D42A27DB-BD31-4B8C-83A1-F6EECF244321}">
                <p14:modId xmlns:p14="http://schemas.microsoft.com/office/powerpoint/2010/main" val="5748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4/1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21033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13505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2"/>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GB"/>
              <a:t>Click to edit Master title style</a:t>
            </a:r>
            <a:endParaRPr lang="en-US"/>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3"/>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00750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2"/>
            </p:custDataLst>
            <p:extLst>
              <p:ext uri="{D42A27DB-BD31-4B8C-83A1-F6EECF244321}">
                <p14:modId xmlns:p14="http://schemas.microsoft.com/office/powerpoint/2010/main" val="187500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GB"/>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8484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2"/>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GB"/>
              <a:t>Click to edit Master title style</a:t>
            </a:r>
            <a:endParaRPr lang="en-US"/>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3"/>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3306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2"/>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GB"/>
              <a:t>Click to edit Master title style</a:t>
            </a:r>
            <a:endParaRPr lang="en-US"/>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3"/>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45724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GB"/>
              <a:t>Click to edit Master title style</a:t>
            </a:r>
            <a:endParaRPr lang="en-US"/>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42937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2"/>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3"/>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924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mage &amp; Text 4">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72E055F-EF83-A6FD-82BE-2FA9B0A8C65C}"/>
              </a:ext>
            </a:extLst>
          </p:cNvPr>
          <p:cNvGraphicFramePr>
            <a:graphicFrameLocks noChangeAspect="1"/>
          </p:cNvGraphicFramePr>
          <p:nvPr>
            <p:custDataLst>
              <p:tags r:id="rId2"/>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1" name="Object 10" hidden="1">
                        <a:extLst>
                          <a:ext uri="{FF2B5EF4-FFF2-40B4-BE49-F238E27FC236}">
                            <a16:creationId xmlns:a16="http://schemas.microsoft.com/office/drawing/2014/main" id="{F72E055F-EF83-A6FD-82BE-2FA9B0A8C6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Rounded Corners 9">
            <a:extLst>
              <a:ext uri="{FF2B5EF4-FFF2-40B4-BE49-F238E27FC236}">
                <a16:creationId xmlns:a16="http://schemas.microsoft.com/office/drawing/2014/main" id="{CC84D14D-E971-AA0D-5624-5BE503755299}"/>
              </a:ext>
            </a:extLst>
          </p:cNvPr>
          <p:cNvSpPr/>
          <p:nvPr/>
        </p:nvSpPr>
        <p:spPr>
          <a:xfrm>
            <a:off x="4261646" y="2349499"/>
            <a:ext cx="3668708" cy="3743326"/>
          </a:xfrm>
          <a:prstGeom prst="roundRect">
            <a:avLst>
              <a:gd name="adj" fmla="val 11619"/>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6701B70F-1298-7266-B028-5010CAFB6C05}"/>
              </a:ext>
            </a:extLst>
          </p:cNvPr>
          <p:cNvSpPr/>
          <p:nvPr/>
        </p:nvSpPr>
        <p:spPr>
          <a:xfrm>
            <a:off x="8066092" y="2349499"/>
            <a:ext cx="3668708" cy="3743326"/>
          </a:xfrm>
          <a:prstGeom prst="roundRect">
            <a:avLst>
              <a:gd name="adj" fmla="val 12881"/>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B0A67187-1E8A-FB5B-C3F8-AEE362083108}"/>
              </a:ext>
            </a:extLst>
          </p:cNvPr>
          <p:cNvSpPr/>
          <p:nvPr userDrawn="1"/>
        </p:nvSpPr>
        <p:spPr>
          <a:xfrm>
            <a:off x="457200" y="2349499"/>
            <a:ext cx="3668708" cy="3743326"/>
          </a:xfrm>
          <a:prstGeom prst="roundRect">
            <a:avLst>
              <a:gd name="adj" fmla="val 1161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GB"/>
              <a:t>Click to edit Master title style</a:t>
            </a:r>
            <a:endParaRPr lang="en-US"/>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88B63F2D-B2D0-498E-8344-4CCC2C98A076}"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9" name="Picture Placeholder 28">
            <a:extLst>
              <a:ext uri="{FF2B5EF4-FFF2-40B4-BE49-F238E27FC236}">
                <a16:creationId xmlns:a16="http://schemas.microsoft.com/office/drawing/2014/main" id="{1B3C1A6A-BC28-982D-B0D3-96FB5274FEC6}"/>
              </a:ext>
            </a:extLst>
          </p:cNvPr>
          <p:cNvSpPr>
            <a:spLocks noGrp="1"/>
          </p:cNvSpPr>
          <p:nvPr>
            <p:ph type="pic" sz="quarter" idx="15" hasCustomPrompt="1"/>
          </p:nvPr>
        </p:nvSpPr>
        <p:spPr>
          <a:xfrm>
            <a:off x="8758958"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3" name="Text Placeholder 3">
            <a:extLst>
              <a:ext uri="{FF2B5EF4-FFF2-40B4-BE49-F238E27FC236}">
                <a16:creationId xmlns:a16="http://schemas.microsoft.com/office/drawing/2014/main" id="{BE2D3251-D80F-991F-EFE9-680F4847E3C3}"/>
              </a:ext>
            </a:extLst>
          </p:cNvPr>
          <p:cNvSpPr>
            <a:spLocks noGrp="1"/>
          </p:cNvSpPr>
          <p:nvPr>
            <p:ph type="body" sz="half" idx="2" hasCustomPrompt="1"/>
          </p:nvPr>
        </p:nvSpPr>
        <p:spPr>
          <a:xfrm>
            <a:off x="457201"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28" name="Picture Placeholder 27">
            <a:extLst>
              <a:ext uri="{FF2B5EF4-FFF2-40B4-BE49-F238E27FC236}">
                <a16:creationId xmlns:a16="http://schemas.microsoft.com/office/drawing/2014/main" id="{B106B567-8B96-ADC4-FA33-E2F7F2A71960}"/>
              </a:ext>
            </a:extLst>
          </p:cNvPr>
          <p:cNvSpPr>
            <a:spLocks noGrp="1"/>
          </p:cNvSpPr>
          <p:nvPr>
            <p:ph type="pic" sz="quarter" idx="14" hasCustomPrompt="1"/>
          </p:nvPr>
        </p:nvSpPr>
        <p:spPr>
          <a:xfrm>
            <a:off x="4954513"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4" name="Text Placeholder 18">
            <a:extLst>
              <a:ext uri="{FF2B5EF4-FFF2-40B4-BE49-F238E27FC236}">
                <a16:creationId xmlns:a16="http://schemas.microsoft.com/office/drawing/2014/main" id="{23DF8FA6-8961-20A7-5B05-4C401DD5BC02}"/>
              </a:ext>
            </a:extLst>
          </p:cNvPr>
          <p:cNvSpPr>
            <a:spLocks noGrp="1"/>
          </p:cNvSpPr>
          <p:nvPr>
            <p:ph type="body" sz="quarter" idx="19" hasCustomPrompt="1"/>
          </p:nvPr>
        </p:nvSpPr>
        <p:spPr>
          <a:xfrm>
            <a:off x="457201"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27" name="Picture Placeholder 26">
            <a:extLst>
              <a:ext uri="{FF2B5EF4-FFF2-40B4-BE49-F238E27FC236}">
                <a16:creationId xmlns:a16="http://schemas.microsoft.com/office/drawing/2014/main" id="{A1D162AC-C87B-D6F5-E02C-FB9CF32095C6}"/>
              </a:ext>
            </a:extLst>
          </p:cNvPr>
          <p:cNvSpPr>
            <a:spLocks noGrp="1"/>
          </p:cNvSpPr>
          <p:nvPr>
            <p:ph type="pic" sz="quarter" idx="13" hasCustomPrompt="1"/>
          </p:nvPr>
        </p:nvSpPr>
        <p:spPr>
          <a:xfrm>
            <a:off x="1150067" y="1208012"/>
            <a:ext cx="2282974" cy="2282974"/>
          </a:xfrm>
          <a:custGeom>
            <a:avLst/>
            <a:gdLst>
              <a:gd name="connsiteX0" fmla="*/ 366286 w 2075978"/>
              <a:gd name="connsiteY0" fmla="*/ 0 h 2075977"/>
              <a:gd name="connsiteX1" fmla="*/ 1709693 w 2075978"/>
              <a:gd name="connsiteY1" fmla="*/ 0 h 2075977"/>
              <a:gd name="connsiteX2" fmla="*/ 2075978 w 2075978"/>
              <a:gd name="connsiteY2" fmla="*/ 366285 h 2075977"/>
              <a:gd name="connsiteX3" fmla="*/ 2075978 w 2075978"/>
              <a:gd name="connsiteY3" fmla="*/ 1709692 h 2075977"/>
              <a:gd name="connsiteX4" fmla="*/ 1709693 w 2075978"/>
              <a:gd name="connsiteY4" fmla="*/ 2075977 h 2075977"/>
              <a:gd name="connsiteX5" fmla="*/ 366286 w 2075978"/>
              <a:gd name="connsiteY5" fmla="*/ 2075977 h 2075977"/>
              <a:gd name="connsiteX6" fmla="*/ 0 w 2075978"/>
              <a:gd name="connsiteY6" fmla="*/ 1709692 h 2075977"/>
              <a:gd name="connsiteX7" fmla="*/ 0 w 2075978"/>
              <a:gd name="connsiteY7" fmla="*/ 366285 h 2075977"/>
              <a:gd name="connsiteX8" fmla="*/ 366286 w 2075978"/>
              <a:gd name="connsiteY8" fmla="*/ 0 h 207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5978" h="2075977">
                <a:moveTo>
                  <a:pt x="366286" y="0"/>
                </a:moveTo>
                <a:lnTo>
                  <a:pt x="1709693" y="0"/>
                </a:lnTo>
                <a:cubicBezTo>
                  <a:pt x="1911987" y="0"/>
                  <a:pt x="2075978" y="163991"/>
                  <a:pt x="2075978" y="366285"/>
                </a:cubicBezTo>
                <a:lnTo>
                  <a:pt x="2075978" y="1709692"/>
                </a:lnTo>
                <a:cubicBezTo>
                  <a:pt x="2075978" y="1911986"/>
                  <a:pt x="1911987" y="2075977"/>
                  <a:pt x="1709693" y="2075977"/>
                </a:cubicBezTo>
                <a:lnTo>
                  <a:pt x="366286" y="2075977"/>
                </a:lnTo>
                <a:cubicBezTo>
                  <a:pt x="163991" y="2075977"/>
                  <a:pt x="0" y="1911986"/>
                  <a:pt x="0" y="1709692"/>
                </a:cubicBezTo>
                <a:lnTo>
                  <a:pt x="0" y="366285"/>
                </a:lnTo>
                <a:cubicBezTo>
                  <a:pt x="0" y="163991"/>
                  <a:pt x="163991" y="0"/>
                  <a:pt x="366286" y="0"/>
                </a:cubicBezTo>
                <a:close/>
              </a:path>
            </a:pathLst>
          </a:custGeom>
          <a:solidFill>
            <a:schemeClr val="bg2"/>
          </a:solidFill>
        </p:spPr>
        <p:txBody>
          <a:bodyPr wrap="square" lIns="108000" tIns="144000" rIns="108000">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sp>
        <p:nvSpPr>
          <p:cNvPr id="45" name="Text Placeholder 3">
            <a:extLst>
              <a:ext uri="{FF2B5EF4-FFF2-40B4-BE49-F238E27FC236}">
                <a16:creationId xmlns:a16="http://schemas.microsoft.com/office/drawing/2014/main" id="{028A39DB-F1D6-A9B7-3CB3-3850A2941157}"/>
              </a:ext>
            </a:extLst>
          </p:cNvPr>
          <p:cNvSpPr>
            <a:spLocks noGrp="1"/>
          </p:cNvSpPr>
          <p:nvPr>
            <p:ph type="body" sz="half" idx="20" hasCustomPrompt="1"/>
          </p:nvPr>
        </p:nvSpPr>
        <p:spPr>
          <a:xfrm>
            <a:off x="4261645"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6" name="Text Placeholder 18">
            <a:extLst>
              <a:ext uri="{FF2B5EF4-FFF2-40B4-BE49-F238E27FC236}">
                <a16:creationId xmlns:a16="http://schemas.microsoft.com/office/drawing/2014/main" id="{37BB1E9C-5F20-F3BF-527E-58ADBCFC62A9}"/>
              </a:ext>
            </a:extLst>
          </p:cNvPr>
          <p:cNvSpPr>
            <a:spLocks noGrp="1"/>
          </p:cNvSpPr>
          <p:nvPr>
            <p:ph type="body" sz="quarter" idx="21" hasCustomPrompt="1"/>
          </p:nvPr>
        </p:nvSpPr>
        <p:spPr>
          <a:xfrm>
            <a:off x="4261645"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sp>
        <p:nvSpPr>
          <p:cNvPr id="47" name="Text Placeholder 3">
            <a:extLst>
              <a:ext uri="{FF2B5EF4-FFF2-40B4-BE49-F238E27FC236}">
                <a16:creationId xmlns:a16="http://schemas.microsoft.com/office/drawing/2014/main" id="{A12030D6-BDE0-200F-AA00-2FAC0023229B}"/>
              </a:ext>
            </a:extLst>
          </p:cNvPr>
          <p:cNvSpPr>
            <a:spLocks noGrp="1"/>
          </p:cNvSpPr>
          <p:nvPr>
            <p:ph type="body" sz="half" idx="22" hasCustomPrompt="1"/>
          </p:nvPr>
        </p:nvSpPr>
        <p:spPr>
          <a:xfrm>
            <a:off x="8066094" y="4425476"/>
            <a:ext cx="3668706" cy="1559398"/>
          </a:xfrm>
          <a:prstGeom prst="rect">
            <a:avLst/>
          </a:prstGeom>
          <a:noFill/>
        </p:spPr>
        <p:txBody>
          <a:bodyPr lIns="108000" tIns="180000" rIns="108000" anchor="t"/>
          <a:lstStyle>
            <a:lvl1pPr marL="0" indent="0" algn="ctr">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a:t>
            </a:r>
          </a:p>
        </p:txBody>
      </p:sp>
      <p:sp>
        <p:nvSpPr>
          <p:cNvPr id="48" name="Text Placeholder 18">
            <a:extLst>
              <a:ext uri="{FF2B5EF4-FFF2-40B4-BE49-F238E27FC236}">
                <a16:creationId xmlns:a16="http://schemas.microsoft.com/office/drawing/2014/main" id="{D054DC0E-5E39-9D87-7E5F-E276AD03DF88}"/>
              </a:ext>
            </a:extLst>
          </p:cNvPr>
          <p:cNvSpPr>
            <a:spLocks noGrp="1"/>
          </p:cNvSpPr>
          <p:nvPr>
            <p:ph type="body" sz="quarter" idx="23" hasCustomPrompt="1"/>
          </p:nvPr>
        </p:nvSpPr>
        <p:spPr>
          <a:xfrm>
            <a:off x="8066094" y="3562350"/>
            <a:ext cx="3668706" cy="826991"/>
          </a:xfrm>
        </p:spPr>
        <p:txBody>
          <a:bodyPr lIns="108000" tIns="36000" rIns="108000" bIns="72000" anchor="b" anchorCtr="0"/>
          <a:lstStyle>
            <a:lvl1pPr marL="0" indent="0" algn="ctr">
              <a:spcBef>
                <a:spcPts val="0"/>
              </a:spcBef>
              <a:buNone/>
              <a:defRPr sz="2400" b="1">
                <a:solidFill>
                  <a:schemeClr val="bg1"/>
                </a:solidFill>
              </a:defRPr>
            </a:lvl1pPr>
          </a:lstStyle>
          <a:p>
            <a:pPr lvl="0"/>
            <a:r>
              <a:rPr lang="en-US"/>
              <a:t>Title here. Keep text short and within box.</a:t>
            </a:r>
          </a:p>
        </p:txBody>
      </p:sp>
      <p:graphicFrame>
        <p:nvGraphicFramePr>
          <p:cNvPr id="19" name="Object 18" hidden="1">
            <a:extLst>
              <a:ext uri="{FF2B5EF4-FFF2-40B4-BE49-F238E27FC236}">
                <a16:creationId xmlns:a16="http://schemas.microsoft.com/office/drawing/2014/main" id="{66561831-7640-8066-6C24-4B994BEA8DD0}"/>
              </a:ext>
            </a:extLst>
          </p:cNvPr>
          <p:cNvGraphicFramePr>
            <a:graphicFrameLocks noChangeAspect="1"/>
          </p:cNvGraphicFramePr>
          <p:nvPr userDrawn="1">
            <p:custDataLst>
              <p:tags r:id="rId3"/>
            </p:custDataLst>
            <p:extLst>
              <p:ext uri="{D42A27DB-BD31-4B8C-83A1-F6EECF244321}">
                <p14:modId xmlns:p14="http://schemas.microsoft.com/office/powerpoint/2010/main" val="1129612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66561831-7640-8066-6C24-4B994BEA8D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18403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GB"/>
              <a:t>Click to edit Master title style</a:t>
            </a:r>
            <a:endParaRPr lang="en-US"/>
          </a:p>
        </p:txBody>
      </p:sp>
    </p:spTree>
    <p:custDataLst>
      <p:tags r:id="rId1"/>
    </p:custDataLst>
    <p:extLst>
      <p:ext uri="{BB962C8B-B14F-4D97-AF65-F5344CB8AC3E}">
        <p14:creationId xmlns:p14="http://schemas.microsoft.com/office/powerpoint/2010/main" val="23772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Image &amp; Text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89992-2A65-06B3-92CF-0CD1CC8B3DC2}"/>
              </a:ext>
            </a:extLst>
          </p:cNvPr>
          <p:cNvGraphicFramePr>
            <a:graphicFrameLocks noChangeAspect="1"/>
          </p:cNvGraphicFramePr>
          <p:nvPr>
            <p:custDataLst>
              <p:tags r:id="rId2"/>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3E389992-2A65-06B3-92CF-0CD1CC8B3D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Freeform: Shape 19">
            <a:extLst>
              <a:ext uri="{FF2B5EF4-FFF2-40B4-BE49-F238E27FC236}">
                <a16:creationId xmlns:a16="http://schemas.microsoft.com/office/drawing/2014/main" id="{AC31887D-14D6-D267-55DF-432D3D7D4514}"/>
              </a:ext>
            </a:extLst>
          </p:cNvPr>
          <p:cNvSpPr/>
          <p:nvPr userDrawn="1"/>
        </p:nvSpPr>
        <p:spPr>
          <a:xfrm>
            <a:off x="1" y="1204101"/>
            <a:ext cx="7666433" cy="5653901"/>
          </a:xfrm>
          <a:custGeom>
            <a:avLst/>
            <a:gdLst>
              <a:gd name="connsiteX0" fmla="*/ 6161940 w 7666433"/>
              <a:gd name="connsiteY0" fmla="*/ 2 h 5653901"/>
              <a:gd name="connsiteX1" fmla="*/ 6559159 w 7666433"/>
              <a:gd name="connsiteY1" fmla="*/ 322651 h 5653901"/>
              <a:gd name="connsiteX2" fmla="*/ 7666433 w 7666433"/>
              <a:gd name="connsiteY2" fmla="*/ 5653900 h 5653901"/>
              <a:gd name="connsiteX3" fmla="*/ 0 w 7666433"/>
              <a:gd name="connsiteY3" fmla="*/ 5653901 h 5653901"/>
              <a:gd name="connsiteX4" fmla="*/ 0 w 7666433"/>
              <a:gd name="connsiteY4" fmla="*/ 1271403 h 5653901"/>
              <a:gd name="connsiteX5" fmla="*/ 6080368 w 7666433"/>
              <a:gd name="connsiteY5" fmla="*/ 8541 h 5653901"/>
              <a:gd name="connsiteX6" fmla="*/ 6161940 w 7666433"/>
              <a:gd name="connsiteY6" fmla="*/ 2 h 56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6433" h="5653901">
                <a:moveTo>
                  <a:pt x="6161940" y="2"/>
                </a:moveTo>
                <a:cubicBezTo>
                  <a:pt x="6350274" y="-553"/>
                  <a:pt x="6519368" y="131066"/>
                  <a:pt x="6559159" y="322651"/>
                </a:cubicBezTo>
                <a:lnTo>
                  <a:pt x="7666433" y="5653900"/>
                </a:lnTo>
                <a:lnTo>
                  <a:pt x="0" y="5653901"/>
                </a:lnTo>
                <a:lnTo>
                  <a:pt x="0" y="1271403"/>
                </a:lnTo>
                <a:lnTo>
                  <a:pt x="6080368" y="8541"/>
                </a:lnTo>
                <a:cubicBezTo>
                  <a:pt x="6107737" y="2857"/>
                  <a:pt x="6135035" y="81"/>
                  <a:pt x="6161940" y="2"/>
                </a:cubicBezTo>
                <a:close/>
              </a:path>
            </a:pathLst>
          </a:custGeom>
          <a:solidFill>
            <a:srgbClr val="EBF5F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Picture Placeholder 15">
            <a:extLst>
              <a:ext uri="{FF2B5EF4-FFF2-40B4-BE49-F238E27FC236}">
                <a16:creationId xmlns:a16="http://schemas.microsoft.com/office/drawing/2014/main" id="{732E1B02-2CEA-55EA-F8ED-93EAEE2A61B4}"/>
              </a:ext>
            </a:extLst>
          </p:cNvPr>
          <p:cNvSpPr>
            <a:spLocks noGrp="1"/>
          </p:cNvSpPr>
          <p:nvPr>
            <p:ph type="pic" sz="quarter" idx="13"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sp>
        <p:nvSpPr>
          <p:cNvPr id="17" name="Text Placeholder 3">
            <a:extLst>
              <a:ext uri="{FF2B5EF4-FFF2-40B4-BE49-F238E27FC236}">
                <a16:creationId xmlns:a16="http://schemas.microsoft.com/office/drawing/2014/main" id="{979D08D4-6EED-7FD6-2357-F08D39E3D59D}"/>
              </a:ext>
            </a:extLst>
          </p:cNvPr>
          <p:cNvSpPr>
            <a:spLocks noGrp="1"/>
          </p:cNvSpPr>
          <p:nvPr>
            <p:ph type="body" sz="half" idx="2" hasCustomPrompt="1"/>
          </p:nvPr>
        </p:nvSpPr>
        <p:spPr>
          <a:xfrm>
            <a:off x="457200" y="3500438"/>
            <a:ext cx="6184899" cy="2592387"/>
          </a:xfrm>
          <a:prstGeom prst="rect">
            <a:avLst/>
          </a:prstGeom>
          <a:noFill/>
        </p:spPr>
        <p:txBody>
          <a:bodyPr lIns="180000"/>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8" name="Text Placeholder 18">
            <a:extLst>
              <a:ext uri="{FF2B5EF4-FFF2-40B4-BE49-F238E27FC236}">
                <a16:creationId xmlns:a16="http://schemas.microsoft.com/office/drawing/2014/main" id="{EE613B11-FFB9-80CE-CBF8-F8C8312C787D}"/>
              </a:ext>
            </a:extLst>
          </p:cNvPr>
          <p:cNvSpPr>
            <a:spLocks noGrp="1"/>
          </p:cNvSpPr>
          <p:nvPr>
            <p:ph type="body" sz="quarter" idx="19" hasCustomPrompt="1"/>
          </p:nvPr>
        </p:nvSpPr>
        <p:spPr>
          <a:xfrm>
            <a:off x="457200" y="2576605"/>
            <a:ext cx="6184899" cy="923833"/>
          </a:xfrm>
        </p:spPr>
        <p:txBody>
          <a:bodyPr lIns="180000" rIns="72000" anchor="ctr"/>
          <a:lstStyle>
            <a:lvl1pPr marL="0" indent="0">
              <a:spcBef>
                <a:spcPts val="0"/>
              </a:spcBef>
              <a:buNone/>
              <a:defRPr sz="2400" b="1">
                <a:solidFill>
                  <a:schemeClr val="tx2"/>
                </a:solidFill>
              </a:defRPr>
            </a:lvl1pPr>
          </a:lstStyle>
          <a:p>
            <a:pPr lvl="0"/>
            <a:r>
              <a:rPr lang="en-US"/>
              <a:t>Title goes here. Keep text short and within box.</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12F32C9-4D9B-42B5-9D38-1055D00812D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a:xfrm>
            <a:off x="457200" y="358160"/>
            <a:ext cx="6094197" cy="657840"/>
          </a:xfrm>
        </p:spPr>
        <p:txBody>
          <a:bodyPr vert="horz"/>
          <a:lstStyle/>
          <a:p>
            <a:r>
              <a:rPr lang="en-GB"/>
              <a:t>Click to edit Master title style</a:t>
            </a:r>
            <a:endParaRPr lang="en-US"/>
          </a:p>
        </p:txBody>
      </p:sp>
      <p:graphicFrame>
        <p:nvGraphicFramePr>
          <p:cNvPr id="11" name="Object 10" hidden="1">
            <a:extLst>
              <a:ext uri="{FF2B5EF4-FFF2-40B4-BE49-F238E27FC236}">
                <a16:creationId xmlns:a16="http://schemas.microsoft.com/office/drawing/2014/main" id="{D31CC719-9BB4-23F1-A794-82D98D3B1038}"/>
              </a:ext>
            </a:extLst>
          </p:cNvPr>
          <p:cNvGraphicFramePr>
            <a:graphicFrameLocks noChangeAspect="1"/>
          </p:cNvGraphicFramePr>
          <p:nvPr userDrawn="1">
            <p:custDataLst>
              <p:tags r:id="rId3"/>
            </p:custDataLst>
            <p:extLst>
              <p:ext uri="{D42A27DB-BD31-4B8C-83A1-F6EECF244321}">
                <p14:modId xmlns:p14="http://schemas.microsoft.com/office/powerpoint/2010/main" val="155586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D31CC719-9BB4-23F1-A794-82D98D3B10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87167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amp; Text 6">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348854-2F0C-31C1-37C5-E164C336A1A3}"/>
              </a:ext>
            </a:extLst>
          </p:cNvPr>
          <p:cNvGraphicFramePr>
            <a:graphicFrameLocks noChangeAspect="1"/>
          </p:cNvGraphicFramePr>
          <p:nvPr>
            <p:custDataLst>
              <p:tags r:id="rId2"/>
            </p:custDataLst>
            <p:extLst>
              <p:ext uri="{D42A27DB-BD31-4B8C-83A1-F6EECF244321}">
                <p14:modId xmlns:p14="http://schemas.microsoft.com/office/powerpoint/2010/main" val="4143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0348854-2F0C-31C1-37C5-E164C336A1A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16B9B4D-DFFB-C773-686C-E92AACF0201A}"/>
              </a:ext>
            </a:extLst>
          </p:cNvPr>
          <p:cNvSpPr>
            <a:spLocks noGrp="1"/>
          </p:cNvSpPr>
          <p:nvPr>
            <p:ph type="body" sz="half" idx="2" hasCustomPrompt="1"/>
          </p:nvPr>
        </p:nvSpPr>
        <p:spPr>
          <a:xfrm>
            <a:off x="6302479" y="2486641"/>
            <a:ext cx="5409452" cy="3606184"/>
          </a:xfrm>
          <a:prstGeom prst="rect">
            <a:avLst/>
          </a:prstGeom>
          <a:noFill/>
          <a:effectLst>
            <a:outerShdw blurRad="127000" sx="102000" sy="102000" algn="ctr" rotWithShape="0">
              <a:prstClr val="black">
                <a:alpha val="10000"/>
              </a:prstClr>
            </a:outerShdw>
          </a:effectLst>
        </p:spPr>
        <p:txBody>
          <a:bodyPr vert="horz" lIns="180000" tIns="180000" rIns="180000" bIns="180000" rtlCol="0" anchor="ctr">
            <a:noAutofit/>
          </a:bodyPr>
          <a:lstStyle>
            <a:lvl1pPr marL="342900" indent="-342900">
              <a:spcBef>
                <a:spcPts val="1000"/>
              </a:spcBef>
              <a:buFont typeface="Arial" panose="020B0604020202020204" pitchFamily="34" charset="0"/>
              <a:buChar char="•"/>
              <a:defRPr lang="en-US" sz="2200" dirty="0"/>
            </a:lvl1pPr>
          </a:lstStyle>
          <a:p>
            <a:pPr lvl="0"/>
            <a:r>
              <a:rPr lang="en-US"/>
              <a:t>Add paragraph text here. Increase or decrease font size as needed. Use bolded text and color to highlight key information.</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AC0BCBC8-7D7D-4E48-B7C2-33E780D82FC8}"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4">
            <a:extLst>
              <a:ext uri="{FF2B5EF4-FFF2-40B4-BE49-F238E27FC236}">
                <a16:creationId xmlns:a16="http://schemas.microsoft.com/office/drawing/2014/main" id="{6F874A90-744C-CDF2-C205-106042DFCA36}"/>
              </a:ext>
            </a:extLst>
          </p:cNvPr>
          <p:cNvSpPr>
            <a:spLocks noGrp="1"/>
          </p:cNvSpPr>
          <p:nvPr>
            <p:ph type="body" sz="quarter" idx="3" hasCustomPrompt="1"/>
          </p:nvPr>
        </p:nvSpPr>
        <p:spPr>
          <a:xfrm>
            <a:off x="6302479" y="1447800"/>
            <a:ext cx="5409452" cy="1038840"/>
          </a:xfrm>
          <a:noFill/>
          <a:effectLst>
            <a:outerShdw blurRad="127000" sx="102000" sy="102000" algn="ctr" rotWithShape="0">
              <a:prstClr val="black">
                <a:alpha val="10000"/>
              </a:prstClr>
            </a:outerShdw>
          </a:effectLst>
        </p:spPr>
        <p:txBody>
          <a:bodyPr lIns="180000" tIns="180000" rIns="180000" bIns="180000" anchor="ctr"/>
          <a:lstStyle>
            <a:lvl1pPr marL="0" indent="0">
              <a:spcBef>
                <a:spcPts val="0"/>
              </a:spcBef>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 here. Keep text short and stay within the text box.</a:t>
            </a:r>
          </a:p>
        </p:txBody>
      </p:sp>
      <p:sp>
        <p:nvSpPr>
          <p:cNvPr id="14" name="Picture Placeholder 26">
            <a:extLst>
              <a:ext uri="{FF2B5EF4-FFF2-40B4-BE49-F238E27FC236}">
                <a16:creationId xmlns:a16="http://schemas.microsoft.com/office/drawing/2014/main" id="{2CE2C2EC-53D8-4B23-90FD-855753B499E7}"/>
              </a:ext>
            </a:extLst>
          </p:cNvPr>
          <p:cNvSpPr>
            <a:spLocks noGrp="1"/>
          </p:cNvSpPr>
          <p:nvPr>
            <p:ph type="pic" sz="quarter" idx="13" hasCustomPrompt="1"/>
          </p:nvPr>
        </p:nvSpPr>
        <p:spPr>
          <a:xfrm>
            <a:off x="468466" y="457199"/>
            <a:ext cx="5622453" cy="5622447"/>
          </a:xfrm>
          <a:prstGeom prst="roundRect">
            <a:avLst>
              <a:gd name="adj" fmla="val 10047"/>
            </a:avLst>
          </a:prstGeom>
          <a:solidFill>
            <a:schemeClr val="bg2"/>
          </a:solidFill>
        </p:spPr>
        <p:txBody>
          <a:bodyPr wrap="square" lIns="108000" tIns="144000" rIns="108000" bIns="1800000" anchor="ctr">
            <a:noAutofit/>
          </a:bodyPr>
          <a:lstStyle>
            <a:lvl1pPr marL="0" indent="0" algn="ctr">
              <a:spcBef>
                <a:spcPts val="0"/>
              </a:spcBef>
              <a:buNone/>
              <a:defRPr lang="en-GB" dirty="0"/>
            </a:lvl1pPr>
          </a:lstStyle>
          <a:p>
            <a:pPr marL="0" marR="0" lvl="0" indent="0" algn="l" defTabSz="914400" rtl="0" eaLnBrk="1" fontAlgn="auto" latinLnBrk="0" hangingPunct="1">
              <a:lnSpc>
                <a:spcPct val="100000"/>
              </a:lnSpc>
              <a:spcBef>
                <a:spcPts val="1000"/>
              </a:spcBef>
              <a:spcAft>
                <a:spcPts val="0"/>
              </a:spcAft>
              <a:buClr>
                <a:schemeClr val="accent1"/>
              </a:buClr>
              <a:buSzTx/>
              <a:buFont typeface="Arial" panose="020B0604020202020204" pitchFamily="34" charset="0"/>
              <a:buNone/>
              <a:tabLst/>
              <a:defRPr/>
            </a:pPr>
            <a:r>
              <a:rPr lang="en-US"/>
              <a:t>Click on the icon to add an image. </a:t>
            </a:r>
          </a:p>
        </p:txBody>
      </p:sp>
      <p:graphicFrame>
        <p:nvGraphicFramePr>
          <p:cNvPr id="10" name="Object 9">
            <a:extLst>
              <a:ext uri="{FF2B5EF4-FFF2-40B4-BE49-F238E27FC236}">
                <a16:creationId xmlns:a16="http://schemas.microsoft.com/office/drawing/2014/main" id="{ABD558EC-1B8C-F219-C317-3CAFC6D20AD9}"/>
              </a:ext>
            </a:extLst>
          </p:cNvPr>
          <p:cNvGraphicFramePr>
            <a:graphicFrameLocks noChangeAspect="1"/>
          </p:cNvGraphicFramePr>
          <p:nvPr userDrawn="1">
            <p:custDataLst>
              <p:tags r:id="rId3"/>
            </p:custDataLst>
            <p:extLst>
              <p:ext uri="{D42A27DB-BD31-4B8C-83A1-F6EECF244321}">
                <p14:modId xmlns:p14="http://schemas.microsoft.com/office/powerpoint/2010/main" val="216842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a:extLst>
                          <a:ext uri="{FF2B5EF4-FFF2-40B4-BE49-F238E27FC236}">
                            <a16:creationId xmlns:a16="http://schemas.microsoft.com/office/drawing/2014/main" id="{ABD558EC-1B8C-F219-C317-3CAFC6D20AD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C91567-2BE7-B5D7-7543-2B6F95381680}"/>
              </a:ext>
            </a:extLst>
          </p:cNvPr>
          <p:cNvSpPr>
            <a:spLocks noGrp="1"/>
          </p:cNvSpPr>
          <p:nvPr>
            <p:ph type="title"/>
          </p:nvPr>
        </p:nvSpPr>
        <p:spPr>
          <a:xfrm>
            <a:off x="6302479" y="383560"/>
            <a:ext cx="5432320" cy="1064240"/>
          </a:xfrm>
        </p:spPr>
        <p:txBody>
          <a:bodyPr lIns="180000" anchor="t" anchorCtr="0"/>
          <a:lstStyle/>
          <a:p>
            <a:r>
              <a:rPr lang="en-GB"/>
              <a:t>Click to edit Master title style</a:t>
            </a:r>
            <a:endParaRPr lang="en-US"/>
          </a:p>
        </p:txBody>
      </p:sp>
    </p:spTree>
    <p:custDataLst>
      <p:tags r:id="rId1"/>
    </p:custDataLst>
    <p:extLst>
      <p:ext uri="{BB962C8B-B14F-4D97-AF65-F5344CB8AC3E}">
        <p14:creationId xmlns:p14="http://schemas.microsoft.com/office/powerpoint/2010/main" val="248532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am Slide ">
    <p:bg>
      <p:bgPr>
        <a:solidFill>
          <a:schemeClr val="bg1"/>
        </a:solidFill>
        <a:effectLst/>
      </p:bgPr>
    </p:bg>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A89FF45-C56C-9D97-B76A-7E34E1A214D4}"/>
              </a:ext>
            </a:extLst>
          </p:cNvPr>
          <p:cNvGraphicFramePr>
            <a:graphicFrameLocks noChangeAspect="1"/>
          </p:cNvGraphicFramePr>
          <p:nvPr>
            <p:custDataLst>
              <p:tags r:id="rId2"/>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4" name="Object 23" hidden="1">
                        <a:extLst>
                          <a:ext uri="{FF2B5EF4-FFF2-40B4-BE49-F238E27FC236}">
                            <a16:creationId xmlns:a16="http://schemas.microsoft.com/office/drawing/2014/main" id="{FA89FF45-C56C-9D97-B76A-7E34E1A214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0" name="Picture Placeholder 39">
            <a:extLst>
              <a:ext uri="{FF2B5EF4-FFF2-40B4-BE49-F238E27FC236}">
                <a16:creationId xmlns:a16="http://schemas.microsoft.com/office/drawing/2014/main" id="{92D8A1E7-7D41-5321-6DAC-6586316777DC}"/>
              </a:ext>
            </a:extLst>
          </p:cNvPr>
          <p:cNvSpPr>
            <a:spLocks noGrp="1"/>
          </p:cNvSpPr>
          <p:nvPr>
            <p:ph type="pic" sz="quarter" idx="16" hasCustomPrompt="1"/>
          </p:nvPr>
        </p:nvSpPr>
        <p:spPr>
          <a:xfrm>
            <a:off x="671503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1" name="Picture Placeholder 40">
            <a:extLst>
              <a:ext uri="{FF2B5EF4-FFF2-40B4-BE49-F238E27FC236}">
                <a16:creationId xmlns:a16="http://schemas.microsoft.com/office/drawing/2014/main" id="{04C0C1A7-346A-7E3C-6411-CA1A6E65EC07}"/>
              </a:ext>
            </a:extLst>
          </p:cNvPr>
          <p:cNvSpPr>
            <a:spLocks noGrp="1"/>
          </p:cNvSpPr>
          <p:nvPr>
            <p:ph type="pic" sz="quarter" idx="17" hasCustomPrompt="1"/>
          </p:nvPr>
        </p:nvSpPr>
        <p:spPr>
          <a:xfrm>
            <a:off x="9573120"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2" name="Picture Placeholder 41">
            <a:extLst>
              <a:ext uri="{FF2B5EF4-FFF2-40B4-BE49-F238E27FC236}">
                <a16:creationId xmlns:a16="http://schemas.microsoft.com/office/drawing/2014/main" id="{E5F28673-1085-F29F-C564-8AB4B6D82431}"/>
              </a:ext>
            </a:extLst>
          </p:cNvPr>
          <p:cNvSpPr>
            <a:spLocks noGrp="1"/>
          </p:cNvSpPr>
          <p:nvPr>
            <p:ph type="pic" sz="quarter" idx="18" hasCustomPrompt="1"/>
          </p:nvPr>
        </p:nvSpPr>
        <p:spPr>
          <a:xfrm>
            <a:off x="242791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3" name="Picture Placeholder 42">
            <a:extLst>
              <a:ext uri="{FF2B5EF4-FFF2-40B4-BE49-F238E27FC236}">
                <a16:creationId xmlns:a16="http://schemas.microsoft.com/office/drawing/2014/main" id="{381ACE06-CA42-0A4B-9DF0-5AF9B66278EE}"/>
              </a:ext>
            </a:extLst>
          </p:cNvPr>
          <p:cNvSpPr>
            <a:spLocks noGrp="1"/>
          </p:cNvSpPr>
          <p:nvPr>
            <p:ph type="pic" sz="quarter" idx="19" hasCustomPrompt="1"/>
          </p:nvPr>
        </p:nvSpPr>
        <p:spPr>
          <a:xfrm>
            <a:off x="528599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44" name="Picture Placeholder 43">
            <a:extLst>
              <a:ext uri="{FF2B5EF4-FFF2-40B4-BE49-F238E27FC236}">
                <a16:creationId xmlns:a16="http://schemas.microsoft.com/office/drawing/2014/main" id="{6AEB9971-9B73-4664-259C-0D399D032750}"/>
              </a:ext>
            </a:extLst>
          </p:cNvPr>
          <p:cNvSpPr>
            <a:spLocks noGrp="1"/>
          </p:cNvSpPr>
          <p:nvPr>
            <p:ph type="pic" sz="quarter" idx="20" hasCustomPrompt="1"/>
          </p:nvPr>
        </p:nvSpPr>
        <p:spPr>
          <a:xfrm>
            <a:off x="8144079" y="3705351"/>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4" name="Picture Placeholder 33">
            <a:extLst>
              <a:ext uri="{FF2B5EF4-FFF2-40B4-BE49-F238E27FC236}">
                <a16:creationId xmlns:a16="http://schemas.microsoft.com/office/drawing/2014/main" id="{3FECBFA8-B36A-EED1-3183-4CCF39FB3CFA}"/>
              </a:ext>
            </a:extLst>
          </p:cNvPr>
          <p:cNvSpPr>
            <a:spLocks noGrp="1"/>
          </p:cNvSpPr>
          <p:nvPr>
            <p:ph type="pic" sz="quarter" idx="15" hasCustomPrompt="1"/>
          </p:nvPr>
        </p:nvSpPr>
        <p:spPr>
          <a:xfrm>
            <a:off x="385695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29" name="Picture Placeholder 28">
            <a:extLst>
              <a:ext uri="{FF2B5EF4-FFF2-40B4-BE49-F238E27FC236}">
                <a16:creationId xmlns:a16="http://schemas.microsoft.com/office/drawing/2014/main" id="{4FC45E8C-8B06-7FAB-BC99-2DB5BCD6F2A8}"/>
              </a:ext>
            </a:extLst>
          </p:cNvPr>
          <p:cNvSpPr>
            <a:spLocks noGrp="1"/>
          </p:cNvSpPr>
          <p:nvPr>
            <p:ph type="pic" sz="quarter" idx="13" hasCustomPrompt="1"/>
          </p:nvPr>
        </p:nvSpPr>
        <p:spPr>
          <a:xfrm>
            <a:off x="998879" y="1196975"/>
            <a:ext cx="1620000" cy="1620000"/>
          </a:xfrm>
          <a:prstGeom prst="roundRect">
            <a:avLst/>
          </a:prstGeom>
          <a:solidFill>
            <a:schemeClr val="bg2"/>
          </a:solidFill>
        </p:spPr>
        <p:txBody>
          <a:bodyPr wrap="square" lIns="144000" tIns="180000" rIns="144000">
            <a:noAutofit/>
          </a:bodyPr>
          <a:lstStyle>
            <a:lvl1pPr marL="0" indent="0" algn="ctr">
              <a:spcBef>
                <a:spcPts val="0"/>
              </a:spcBef>
              <a:buNone/>
              <a:defRPr sz="1400"/>
            </a:lvl1pPr>
          </a:lstStyle>
          <a:p>
            <a:r>
              <a:rPr lang="en-US"/>
              <a:t>Click to insert image.</a:t>
            </a:r>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CA448AB9-A81B-4629-891C-AAB2D966FD7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26" name="Text Placeholder 25">
            <a:extLst>
              <a:ext uri="{FF2B5EF4-FFF2-40B4-BE49-F238E27FC236}">
                <a16:creationId xmlns:a16="http://schemas.microsoft.com/office/drawing/2014/main" id="{6B97047B-B222-1095-4984-4CB075708AA4}"/>
              </a:ext>
            </a:extLst>
          </p:cNvPr>
          <p:cNvSpPr>
            <a:spLocks noGrp="1"/>
          </p:cNvSpPr>
          <p:nvPr>
            <p:ph type="body" sz="quarter" idx="14" hasCustomPrompt="1"/>
          </p:nvPr>
        </p:nvSpPr>
        <p:spPr>
          <a:xfrm>
            <a:off x="46583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5" name="Text Placeholder 25">
            <a:extLst>
              <a:ext uri="{FF2B5EF4-FFF2-40B4-BE49-F238E27FC236}">
                <a16:creationId xmlns:a16="http://schemas.microsoft.com/office/drawing/2014/main" id="{D9F72961-63D9-0A98-708B-5CADC2FCE4DD}"/>
              </a:ext>
            </a:extLst>
          </p:cNvPr>
          <p:cNvSpPr>
            <a:spLocks noGrp="1"/>
          </p:cNvSpPr>
          <p:nvPr>
            <p:ph type="body" sz="quarter" idx="21" hasCustomPrompt="1"/>
          </p:nvPr>
        </p:nvSpPr>
        <p:spPr>
          <a:xfrm>
            <a:off x="332391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7" name="Text Placeholder 25">
            <a:extLst>
              <a:ext uri="{FF2B5EF4-FFF2-40B4-BE49-F238E27FC236}">
                <a16:creationId xmlns:a16="http://schemas.microsoft.com/office/drawing/2014/main" id="{BB05C0F2-473B-D11D-709C-5B049F61EFE9}"/>
              </a:ext>
            </a:extLst>
          </p:cNvPr>
          <p:cNvSpPr>
            <a:spLocks noGrp="1"/>
          </p:cNvSpPr>
          <p:nvPr>
            <p:ph type="body" sz="quarter" idx="22" hasCustomPrompt="1"/>
          </p:nvPr>
        </p:nvSpPr>
        <p:spPr>
          <a:xfrm>
            <a:off x="6181996"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8" name="Text Placeholder 25">
            <a:extLst>
              <a:ext uri="{FF2B5EF4-FFF2-40B4-BE49-F238E27FC236}">
                <a16:creationId xmlns:a16="http://schemas.microsoft.com/office/drawing/2014/main" id="{BADB2506-63DF-7C9C-B805-4B8427D14B0C}"/>
              </a:ext>
            </a:extLst>
          </p:cNvPr>
          <p:cNvSpPr>
            <a:spLocks noGrp="1"/>
          </p:cNvSpPr>
          <p:nvPr>
            <p:ph type="body" sz="quarter" idx="23" hasCustomPrompt="1"/>
          </p:nvPr>
        </p:nvSpPr>
        <p:spPr>
          <a:xfrm>
            <a:off x="9040078" y="2831316"/>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49" name="Text Placeholder 25">
            <a:extLst>
              <a:ext uri="{FF2B5EF4-FFF2-40B4-BE49-F238E27FC236}">
                <a16:creationId xmlns:a16="http://schemas.microsoft.com/office/drawing/2014/main" id="{C2A0D23E-F844-FCBD-9453-36D63677DD49}"/>
              </a:ext>
            </a:extLst>
          </p:cNvPr>
          <p:cNvSpPr>
            <a:spLocks noGrp="1"/>
          </p:cNvSpPr>
          <p:nvPr>
            <p:ph type="body" sz="quarter" idx="24" hasCustomPrompt="1"/>
          </p:nvPr>
        </p:nvSpPr>
        <p:spPr>
          <a:xfrm>
            <a:off x="189487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0" name="Text Placeholder 25">
            <a:extLst>
              <a:ext uri="{FF2B5EF4-FFF2-40B4-BE49-F238E27FC236}">
                <a16:creationId xmlns:a16="http://schemas.microsoft.com/office/drawing/2014/main" id="{0153A0ED-38A2-F44B-EF5E-5FBEC108C047}"/>
              </a:ext>
            </a:extLst>
          </p:cNvPr>
          <p:cNvSpPr>
            <a:spLocks noGrp="1"/>
          </p:cNvSpPr>
          <p:nvPr>
            <p:ph type="body" sz="quarter" idx="25" hasCustomPrompt="1"/>
          </p:nvPr>
        </p:nvSpPr>
        <p:spPr>
          <a:xfrm>
            <a:off x="475295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sp>
        <p:nvSpPr>
          <p:cNvPr id="51" name="Text Placeholder 25">
            <a:extLst>
              <a:ext uri="{FF2B5EF4-FFF2-40B4-BE49-F238E27FC236}">
                <a16:creationId xmlns:a16="http://schemas.microsoft.com/office/drawing/2014/main" id="{C697EC28-996C-3058-9EF8-EB8373F79C9B}"/>
              </a:ext>
            </a:extLst>
          </p:cNvPr>
          <p:cNvSpPr>
            <a:spLocks noGrp="1"/>
          </p:cNvSpPr>
          <p:nvPr>
            <p:ph type="body" sz="quarter" idx="26" hasCustomPrompt="1"/>
          </p:nvPr>
        </p:nvSpPr>
        <p:spPr>
          <a:xfrm>
            <a:off x="7611036" y="5350678"/>
            <a:ext cx="2686086" cy="776872"/>
          </a:xfrm>
        </p:spPr>
        <p:txBody>
          <a:bodyPr tIns="108000" rIns="0"/>
          <a:lstStyle>
            <a:lvl1pPr marL="0" indent="0" algn="ctr">
              <a:spcBef>
                <a:spcPts val="0"/>
              </a:spcBef>
              <a:buNone/>
              <a:defRPr sz="1800" b="1">
                <a:solidFill>
                  <a:schemeClr val="tx2"/>
                </a:solidFill>
              </a:defRPr>
            </a:lvl1pPr>
          </a:lstStyle>
          <a:p>
            <a:pPr lvl="0"/>
            <a:r>
              <a:rPr lang="en-US"/>
              <a:t>Click to insert name.</a:t>
            </a:r>
          </a:p>
        </p:txBody>
      </p:sp>
      <p:graphicFrame>
        <p:nvGraphicFramePr>
          <p:cNvPr id="21" name="Object 20" hidden="1">
            <a:extLst>
              <a:ext uri="{FF2B5EF4-FFF2-40B4-BE49-F238E27FC236}">
                <a16:creationId xmlns:a16="http://schemas.microsoft.com/office/drawing/2014/main" id="{ADD5E5AF-85A8-863D-2021-3972EA8F09C9}"/>
              </a:ext>
            </a:extLst>
          </p:cNvPr>
          <p:cNvGraphicFramePr>
            <a:graphicFrameLocks noChangeAspect="1"/>
          </p:cNvGraphicFramePr>
          <p:nvPr userDrawn="1">
            <p:custDataLst>
              <p:tags r:id="rId3"/>
            </p:custDataLst>
            <p:extLst>
              <p:ext uri="{D42A27DB-BD31-4B8C-83A1-F6EECF244321}">
                <p14:modId xmlns:p14="http://schemas.microsoft.com/office/powerpoint/2010/main" val="1444622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1" name="Object 20" hidden="1">
                        <a:extLst>
                          <a:ext uri="{FF2B5EF4-FFF2-40B4-BE49-F238E27FC236}">
                            <a16:creationId xmlns:a16="http://schemas.microsoft.com/office/drawing/2014/main" id="{ADD5E5AF-85A8-863D-2021-3972EA8F09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44852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109493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6544732" y="3284539"/>
            <a:ext cx="5190067" cy="2808400"/>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6544732" y="800101"/>
            <a:ext cx="5190067" cy="2484438"/>
          </a:xfrm>
        </p:spPr>
        <p:txBody>
          <a:bodyPr vert="horz" anchor="b"/>
          <a:lstStyle>
            <a:lvl1pPr algn="l">
              <a:defRPr sz="3200" b="1">
                <a:solidFill>
                  <a:schemeClr val="bg2"/>
                </a:solidFill>
              </a:defRPr>
            </a:lvl1pPr>
          </a:lstStyle>
          <a:p>
            <a:r>
              <a:rPr lang="en-GB"/>
              <a:t>Click to edit Master title style</a:t>
            </a:r>
            <a:endParaRPr lang="en-US"/>
          </a:p>
        </p:txBody>
      </p:sp>
      <p:sp>
        <p:nvSpPr>
          <p:cNvPr id="146" name="Text Placeholder 145">
            <a:extLst>
              <a:ext uri="{FF2B5EF4-FFF2-40B4-BE49-F238E27FC236}">
                <a16:creationId xmlns:a16="http://schemas.microsoft.com/office/drawing/2014/main" id="{06A37646-E5B7-0979-2369-F3B33DDE321B}"/>
              </a:ext>
            </a:extLst>
          </p:cNvPr>
          <p:cNvSpPr>
            <a:spLocks noGrp="1"/>
          </p:cNvSpPr>
          <p:nvPr userDrawn="1">
            <p:ph type="body" sz="quarter" idx="10" hasCustomPrompt="1"/>
          </p:nvPr>
        </p:nvSpPr>
        <p:spPr>
          <a:xfrm>
            <a:off x="722884" y="133251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grpSp>
        <p:nvGrpSpPr>
          <p:cNvPr id="9" name="Group 8">
            <a:extLst>
              <a:ext uri="{FF2B5EF4-FFF2-40B4-BE49-F238E27FC236}">
                <a16:creationId xmlns:a16="http://schemas.microsoft.com/office/drawing/2014/main" id="{FD5F7931-087B-3B2B-ED41-3D0AEF3CCABB}"/>
              </a:ext>
            </a:extLst>
          </p:cNvPr>
          <p:cNvGrpSpPr/>
          <p:nvPr userDrawn="1"/>
        </p:nvGrpSpPr>
        <p:grpSpPr>
          <a:xfrm>
            <a:off x="0" y="-1087074"/>
            <a:ext cx="5257799" cy="6939212"/>
            <a:chOff x="0" y="-1087074"/>
            <a:chExt cx="5257799" cy="6939212"/>
          </a:xfrm>
        </p:grpSpPr>
        <p:sp>
          <p:nvSpPr>
            <p:cNvPr id="10" name="Freeform: Shape 9">
              <a:extLst>
                <a:ext uri="{FF2B5EF4-FFF2-40B4-BE49-F238E27FC236}">
                  <a16:creationId xmlns:a16="http://schemas.microsoft.com/office/drawing/2014/main" id="{228FDEC5-56ED-1C94-A4CF-2C26E2FC8D97}"/>
                </a:ext>
              </a:extLst>
            </p:cNvPr>
            <p:cNvSpPr/>
            <p:nvPr/>
          </p:nvSpPr>
          <p:spPr>
            <a:xfrm rot="2700000">
              <a:off x="2278436" y="-910581"/>
              <a:ext cx="2685886" cy="2332899"/>
            </a:xfrm>
            <a:custGeom>
              <a:avLst/>
              <a:gdLst>
                <a:gd name="connsiteX0" fmla="*/ 0 w 2685886"/>
                <a:gd name="connsiteY0" fmla="*/ 2147540 h 2332899"/>
                <a:gd name="connsiteX1" fmla="*/ 2147540 w 2685886"/>
                <a:gd name="connsiteY1" fmla="*/ 0 h 2332899"/>
                <a:gd name="connsiteX2" fmla="*/ 2263500 w 2685886"/>
                <a:gd name="connsiteY2" fmla="*/ 53820 h 2332899"/>
                <a:gd name="connsiteX3" fmla="*/ 2606746 w 2685886"/>
                <a:gd name="connsiteY3" fmla="*/ 306910 h 2332899"/>
                <a:gd name="connsiteX4" fmla="*/ 2685886 w 2685886"/>
                <a:gd name="connsiteY4" fmla="*/ 386050 h 2332899"/>
                <a:gd name="connsiteX5" fmla="*/ 2685886 w 2685886"/>
                <a:gd name="connsiteY5" fmla="*/ 405312 h 2332899"/>
                <a:gd name="connsiteX6" fmla="*/ 1450230 w 2685886"/>
                <a:gd name="connsiteY6" fmla="*/ 1640968 h 2332899"/>
                <a:gd name="connsiteX7" fmla="*/ 1450230 w 2685886"/>
                <a:gd name="connsiteY7" fmla="*/ 1640974 h 2332899"/>
                <a:gd name="connsiteX8" fmla="*/ 935949 w 2685886"/>
                <a:gd name="connsiteY8" fmla="*/ 2155256 h 2332899"/>
                <a:gd name="connsiteX9" fmla="*/ 507081 w 2685886"/>
                <a:gd name="connsiteY9" fmla="*/ 2332899 h 2332899"/>
                <a:gd name="connsiteX10" fmla="*/ 471834 w 2685886"/>
                <a:gd name="connsiteY10" fmla="*/ 2329520 h 2332899"/>
                <a:gd name="connsiteX11" fmla="*/ 436584 w 2685886"/>
                <a:gd name="connsiteY11" fmla="*/ 2332899 h 2332899"/>
                <a:gd name="connsiteX12" fmla="*/ 7716 w 2685886"/>
                <a:gd name="connsiteY12" fmla="*/ 2155256 h 233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85886" h="2332899">
                  <a:moveTo>
                    <a:pt x="0" y="2147540"/>
                  </a:moveTo>
                  <a:lnTo>
                    <a:pt x="2147540" y="0"/>
                  </a:lnTo>
                  <a:lnTo>
                    <a:pt x="2263500" y="53820"/>
                  </a:lnTo>
                  <a:cubicBezTo>
                    <a:pt x="2386987" y="118715"/>
                    <a:pt x="2502915" y="203078"/>
                    <a:pt x="2606746" y="306910"/>
                  </a:cubicBezTo>
                  <a:lnTo>
                    <a:pt x="2685886" y="386050"/>
                  </a:lnTo>
                  <a:lnTo>
                    <a:pt x="2685886" y="405312"/>
                  </a:lnTo>
                  <a:lnTo>
                    <a:pt x="1450230" y="1640968"/>
                  </a:lnTo>
                  <a:lnTo>
                    <a:pt x="1450230" y="1640974"/>
                  </a:lnTo>
                  <a:lnTo>
                    <a:pt x="935949" y="2155256"/>
                  </a:lnTo>
                  <a:cubicBezTo>
                    <a:pt x="817521" y="2273686"/>
                    <a:pt x="662301" y="2332899"/>
                    <a:pt x="507081" y="2332899"/>
                  </a:cubicBezTo>
                  <a:lnTo>
                    <a:pt x="471834" y="2329520"/>
                  </a:lnTo>
                  <a:lnTo>
                    <a:pt x="436584" y="2332899"/>
                  </a:lnTo>
                  <a:cubicBezTo>
                    <a:pt x="281364" y="2332899"/>
                    <a:pt x="126144" y="2273686"/>
                    <a:pt x="7716" y="2155256"/>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35219B31-02D2-954C-103F-F06D12166C71}"/>
                </a:ext>
              </a:extLst>
            </p:cNvPr>
            <p:cNvSpPr/>
            <p:nvPr/>
          </p:nvSpPr>
          <p:spPr>
            <a:xfrm rot="18900000" flipV="1">
              <a:off x="829692" y="2540563"/>
              <a:ext cx="4428107" cy="244131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9B424FA4-1C66-B412-A137-CBE46E9F8C47}"/>
                </a:ext>
              </a:extLst>
            </p:cNvPr>
            <p:cNvSpPr/>
            <p:nvPr/>
          </p:nvSpPr>
          <p:spPr>
            <a:xfrm rot="5400000">
              <a:off x="1958853" y="723794"/>
              <a:ext cx="3888902" cy="2441315"/>
            </a:xfrm>
            <a:custGeom>
              <a:avLst/>
              <a:gdLst>
                <a:gd name="connsiteX0" fmla="*/ 1674845 w 3888902"/>
                <a:gd name="connsiteY0" fmla="*/ 544875 h 2441315"/>
                <a:gd name="connsiteX1" fmla="*/ 1674850 w 3888902"/>
                <a:gd name="connsiteY1" fmla="*/ 544879 h 2441315"/>
                <a:gd name="connsiteX2" fmla="*/ 1674852 w 3888902"/>
                <a:gd name="connsiteY2" fmla="*/ 544875 h 2441315"/>
                <a:gd name="connsiteX3" fmla="*/ 1674850 w 3888902"/>
                <a:gd name="connsiteY3" fmla="*/ 544873 h 2441315"/>
                <a:gd name="connsiteX4" fmla="*/ 0 w 3888902"/>
                <a:gd name="connsiteY4" fmla="*/ 1052933 h 2441315"/>
                <a:gd name="connsiteX5" fmla="*/ 0 w 3888902"/>
                <a:gd name="connsiteY5" fmla="*/ 108018 h 2441315"/>
                <a:gd name="connsiteX6" fmla="*/ 9021 w 3888902"/>
                <a:gd name="connsiteY6" fmla="*/ 103831 h 2441315"/>
                <a:gd name="connsiteX7" fmla="*/ 542618 w 3888902"/>
                <a:gd name="connsiteY7" fmla="*/ 0 h 2441315"/>
                <a:gd name="connsiteX8" fmla="*/ 696453 w 3888902"/>
                <a:gd name="connsiteY8" fmla="*/ 14744 h 2441315"/>
                <a:gd name="connsiteX9" fmla="*/ 696453 w 3888902"/>
                <a:gd name="connsiteY9" fmla="*/ 14749 h 2441315"/>
                <a:gd name="connsiteX10" fmla="*/ 709513 w 3888902"/>
                <a:gd name="connsiteY10" fmla="*/ 16002 h 2441315"/>
                <a:gd name="connsiteX11" fmla="*/ 787420 w 3888902"/>
                <a:gd name="connsiteY11" fmla="*/ 93909 h 2441315"/>
                <a:gd name="connsiteX12" fmla="*/ 1409042 w 3888902"/>
                <a:gd name="connsiteY12" fmla="*/ 424631 h 2441315"/>
                <a:gd name="connsiteX13" fmla="*/ 1570033 w 3888902"/>
                <a:gd name="connsiteY13" fmla="*/ 440061 h 2441315"/>
                <a:gd name="connsiteX14" fmla="*/ 1669823 w 3888902"/>
                <a:gd name="connsiteY14" fmla="*/ 539853 h 2441315"/>
                <a:gd name="connsiteX15" fmla="*/ 1669823 w 3888902"/>
                <a:gd name="connsiteY15" fmla="*/ 539846 h 2441315"/>
                <a:gd name="connsiteX16" fmla="*/ 1570033 w 3888902"/>
                <a:gd name="connsiteY16" fmla="*/ 440056 h 2441315"/>
                <a:gd name="connsiteX17" fmla="*/ 1639084 w 3888902"/>
                <a:gd name="connsiteY17" fmla="*/ 446677 h 2441315"/>
                <a:gd name="connsiteX18" fmla="*/ 1669823 w 3888902"/>
                <a:gd name="connsiteY18" fmla="*/ 443731 h 2441315"/>
                <a:gd name="connsiteX19" fmla="*/ 1669823 w 3888902"/>
                <a:gd name="connsiteY19" fmla="*/ 442767 h 2441315"/>
                <a:gd name="connsiteX20" fmla="*/ 1674850 w 3888902"/>
                <a:gd name="connsiteY20" fmla="*/ 443249 h 2441315"/>
                <a:gd name="connsiteX21" fmla="*/ 1679874 w 3888902"/>
                <a:gd name="connsiteY21" fmla="*/ 442767 h 2441315"/>
                <a:gd name="connsiteX22" fmla="*/ 1679874 w 3888902"/>
                <a:gd name="connsiteY22" fmla="*/ 443731 h 2441315"/>
                <a:gd name="connsiteX23" fmla="*/ 1710613 w 3888902"/>
                <a:gd name="connsiteY23" fmla="*/ 446677 h 2441315"/>
                <a:gd name="connsiteX24" fmla="*/ 1779664 w 3888902"/>
                <a:gd name="connsiteY24" fmla="*/ 440056 h 2441315"/>
                <a:gd name="connsiteX25" fmla="*/ 1679874 w 3888902"/>
                <a:gd name="connsiteY25" fmla="*/ 539846 h 2441315"/>
                <a:gd name="connsiteX26" fmla="*/ 1679874 w 3888902"/>
                <a:gd name="connsiteY26" fmla="*/ 539853 h 2441315"/>
                <a:gd name="connsiteX27" fmla="*/ 1779664 w 3888902"/>
                <a:gd name="connsiteY27" fmla="*/ 440061 h 2441315"/>
                <a:gd name="connsiteX28" fmla="*/ 1940655 w 3888902"/>
                <a:gd name="connsiteY28" fmla="*/ 424631 h 2441315"/>
                <a:gd name="connsiteX29" fmla="*/ 2562277 w 3888902"/>
                <a:gd name="connsiteY29" fmla="*/ 93909 h 2441315"/>
                <a:gd name="connsiteX30" fmla="*/ 2640184 w 3888902"/>
                <a:gd name="connsiteY30" fmla="*/ 16002 h 2441315"/>
                <a:gd name="connsiteX31" fmla="*/ 2653244 w 3888902"/>
                <a:gd name="connsiteY31" fmla="*/ 14749 h 2441315"/>
                <a:gd name="connsiteX32" fmla="*/ 2653244 w 3888902"/>
                <a:gd name="connsiteY32" fmla="*/ 14744 h 2441315"/>
                <a:gd name="connsiteX33" fmla="*/ 2807079 w 3888902"/>
                <a:gd name="connsiteY33" fmla="*/ 0 h 2441315"/>
                <a:gd name="connsiteX34" fmla="*/ 3809762 w 3888902"/>
                <a:gd name="connsiteY34" fmla="*/ 415326 h 2441315"/>
                <a:gd name="connsiteX35" fmla="*/ 3888902 w 3888902"/>
                <a:gd name="connsiteY35" fmla="*/ 494467 h 2441315"/>
                <a:gd name="connsiteX36" fmla="*/ 3888902 w 3888902"/>
                <a:gd name="connsiteY36" fmla="*/ 513728 h 2441315"/>
                <a:gd name="connsiteX37" fmla="*/ 2653246 w 3888902"/>
                <a:gd name="connsiteY37" fmla="*/ 1749384 h 2441315"/>
                <a:gd name="connsiteX38" fmla="*/ 2653246 w 3888902"/>
                <a:gd name="connsiteY38" fmla="*/ 1749391 h 2441315"/>
                <a:gd name="connsiteX39" fmla="*/ 2138965 w 3888902"/>
                <a:gd name="connsiteY39" fmla="*/ 2263672 h 2441315"/>
                <a:gd name="connsiteX40" fmla="*/ 1710097 w 3888902"/>
                <a:gd name="connsiteY40" fmla="*/ 2441315 h 2441315"/>
                <a:gd name="connsiteX41" fmla="*/ 1674850 w 3888902"/>
                <a:gd name="connsiteY41" fmla="*/ 2437936 h 2441315"/>
                <a:gd name="connsiteX42" fmla="*/ 1639600 w 3888902"/>
                <a:gd name="connsiteY42" fmla="*/ 2441315 h 2441315"/>
                <a:gd name="connsiteX43" fmla="*/ 1210732 w 3888902"/>
                <a:gd name="connsiteY43" fmla="*/ 2263672 h 2441315"/>
                <a:gd name="connsiteX44" fmla="*/ 696450 w 3888902"/>
                <a:gd name="connsiteY44" fmla="*/ 1749391 h 2441315"/>
                <a:gd name="connsiteX45" fmla="*/ 696450 w 3888902"/>
                <a:gd name="connsiteY45" fmla="*/ 1749384 h 244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88902" h="2441315">
                  <a:moveTo>
                    <a:pt x="1674845" y="544875"/>
                  </a:moveTo>
                  <a:lnTo>
                    <a:pt x="1674850" y="544879"/>
                  </a:lnTo>
                  <a:lnTo>
                    <a:pt x="1674852" y="544875"/>
                  </a:lnTo>
                  <a:lnTo>
                    <a:pt x="1674850" y="544873"/>
                  </a:lnTo>
                  <a:close/>
                  <a:moveTo>
                    <a:pt x="0" y="1052933"/>
                  </a:moveTo>
                  <a:lnTo>
                    <a:pt x="0" y="108018"/>
                  </a:lnTo>
                  <a:lnTo>
                    <a:pt x="9021" y="103831"/>
                  </a:lnTo>
                  <a:cubicBezTo>
                    <a:pt x="179718" y="34610"/>
                    <a:pt x="361168" y="0"/>
                    <a:pt x="542618" y="0"/>
                  </a:cubicBezTo>
                  <a:lnTo>
                    <a:pt x="696453" y="14744"/>
                  </a:lnTo>
                  <a:lnTo>
                    <a:pt x="696453" y="14749"/>
                  </a:lnTo>
                  <a:lnTo>
                    <a:pt x="709513" y="16002"/>
                  </a:lnTo>
                  <a:lnTo>
                    <a:pt x="787420" y="93909"/>
                  </a:lnTo>
                  <a:cubicBezTo>
                    <a:pt x="963805" y="270294"/>
                    <a:pt x="1181287" y="380534"/>
                    <a:pt x="1409042" y="424631"/>
                  </a:cubicBezTo>
                  <a:lnTo>
                    <a:pt x="1570033" y="440061"/>
                  </a:lnTo>
                  <a:lnTo>
                    <a:pt x="1669823" y="539853"/>
                  </a:lnTo>
                  <a:lnTo>
                    <a:pt x="1669823" y="539846"/>
                  </a:lnTo>
                  <a:lnTo>
                    <a:pt x="1570033" y="440056"/>
                  </a:lnTo>
                  <a:lnTo>
                    <a:pt x="1639084" y="446677"/>
                  </a:lnTo>
                  <a:lnTo>
                    <a:pt x="1669823" y="443731"/>
                  </a:lnTo>
                  <a:lnTo>
                    <a:pt x="1669823" y="442767"/>
                  </a:lnTo>
                  <a:lnTo>
                    <a:pt x="1674850" y="443249"/>
                  </a:lnTo>
                  <a:lnTo>
                    <a:pt x="1679874" y="442767"/>
                  </a:lnTo>
                  <a:lnTo>
                    <a:pt x="1679874" y="443731"/>
                  </a:lnTo>
                  <a:lnTo>
                    <a:pt x="1710613" y="446677"/>
                  </a:lnTo>
                  <a:lnTo>
                    <a:pt x="1779664" y="440056"/>
                  </a:lnTo>
                  <a:lnTo>
                    <a:pt x="1679874" y="539846"/>
                  </a:lnTo>
                  <a:lnTo>
                    <a:pt x="1679874" y="539853"/>
                  </a:lnTo>
                  <a:lnTo>
                    <a:pt x="1779664" y="440061"/>
                  </a:lnTo>
                  <a:lnTo>
                    <a:pt x="1940655" y="424631"/>
                  </a:lnTo>
                  <a:cubicBezTo>
                    <a:pt x="2168410" y="380534"/>
                    <a:pt x="2385892" y="270294"/>
                    <a:pt x="2562277" y="93909"/>
                  </a:cubicBezTo>
                  <a:lnTo>
                    <a:pt x="2640184" y="16002"/>
                  </a:lnTo>
                  <a:lnTo>
                    <a:pt x="2653244" y="14749"/>
                  </a:lnTo>
                  <a:lnTo>
                    <a:pt x="2653244" y="14744"/>
                  </a:lnTo>
                  <a:lnTo>
                    <a:pt x="2807079" y="0"/>
                  </a:lnTo>
                  <a:cubicBezTo>
                    <a:pt x="3169979" y="0"/>
                    <a:pt x="3532879" y="138441"/>
                    <a:pt x="3809762" y="415326"/>
                  </a:cubicBezTo>
                  <a:lnTo>
                    <a:pt x="3888902" y="494467"/>
                  </a:lnTo>
                  <a:lnTo>
                    <a:pt x="3888902" y="513728"/>
                  </a:lnTo>
                  <a:lnTo>
                    <a:pt x="2653246" y="1749384"/>
                  </a:lnTo>
                  <a:lnTo>
                    <a:pt x="2653246" y="1749391"/>
                  </a:lnTo>
                  <a:lnTo>
                    <a:pt x="2138965" y="2263672"/>
                  </a:lnTo>
                  <a:cubicBezTo>
                    <a:pt x="2020537" y="2382102"/>
                    <a:pt x="1865317" y="2441315"/>
                    <a:pt x="1710097" y="2441315"/>
                  </a:cubicBezTo>
                  <a:lnTo>
                    <a:pt x="1674850" y="2437936"/>
                  </a:lnTo>
                  <a:lnTo>
                    <a:pt x="1639600" y="2441315"/>
                  </a:lnTo>
                  <a:cubicBezTo>
                    <a:pt x="1484380" y="2441315"/>
                    <a:pt x="1329160" y="2382102"/>
                    <a:pt x="1210732" y="2263672"/>
                  </a:cubicBezTo>
                  <a:lnTo>
                    <a:pt x="696450" y="1749391"/>
                  </a:lnTo>
                  <a:lnTo>
                    <a:pt x="696450" y="1749384"/>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234F26E1-E0E1-E128-EBFB-AA95032BDC3E}"/>
                </a:ext>
              </a:extLst>
            </p:cNvPr>
            <p:cNvSpPr/>
            <p:nvPr/>
          </p:nvSpPr>
          <p:spPr>
            <a:xfrm rot="10800000">
              <a:off x="0" y="3410824"/>
              <a:ext cx="3168609" cy="2441314"/>
            </a:xfrm>
            <a:custGeom>
              <a:avLst/>
              <a:gdLst>
                <a:gd name="connsiteX0" fmla="*/ 2214056 w 3168609"/>
                <a:gd name="connsiteY0" fmla="*/ 544879 h 2441314"/>
                <a:gd name="connsiteX1" fmla="*/ 2214058 w 3168609"/>
                <a:gd name="connsiteY1" fmla="*/ 544875 h 2441314"/>
                <a:gd name="connsiteX2" fmla="*/ 2214056 w 3168609"/>
                <a:gd name="connsiteY2" fmla="*/ 544872 h 2441314"/>
                <a:gd name="connsiteX3" fmla="*/ 2214051 w 3168609"/>
                <a:gd name="connsiteY3" fmla="*/ 544875 h 2441314"/>
                <a:gd name="connsiteX4" fmla="*/ 2249303 w 3168609"/>
                <a:gd name="connsiteY4" fmla="*/ 2441314 h 2441314"/>
                <a:gd name="connsiteX5" fmla="*/ 2214055 w 3168609"/>
                <a:gd name="connsiteY5" fmla="*/ 2437935 h 2441314"/>
                <a:gd name="connsiteX6" fmla="*/ 2178806 w 3168609"/>
                <a:gd name="connsiteY6" fmla="*/ 2441314 h 2441314"/>
                <a:gd name="connsiteX7" fmla="*/ 1749938 w 3168609"/>
                <a:gd name="connsiteY7" fmla="*/ 2263671 h 2441314"/>
                <a:gd name="connsiteX8" fmla="*/ 1235656 w 3168609"/>
                <a:gd name="connsiteY8" fmla="*/ 1749389 h 2441314"/>
                <a:gd name="connsiteX9" fmla="*/ 1235656 w 3168609"/>
                <a:gd name="connsiteY9" fmla="*/ 1749383 h 2441314"/>
                <a:gd name="connsiteX10" fmla="*/ 0 w 3168609"/>
                <a:gd name="connsiteY10" fmla="*/ 513728 h 2441314"/>
                <a:gd name="connsiteX11" fmla="*/ 0 w 3168609"/>
                <a:gd name="connsiteY11" fmla="*/ 494466 h 2441314"/>
                <a:gd name="connsiteX12" fmla="*/ 79140 w 3168609"/>
                <a:gd name="connsiteY12" fmla="*/ 415326 h 2441314"/>
                <a:gd name="connsiteX13" fmla="*/ 1081824 w 3168609"/>
                <a:gd name="connsiteY13" fmla="*/ 0 h 2441314"/>
                <a:gd name="connsiteX14" fmla="*/ 1235658 w 3168609"/>
                <a:gd name="connsiteY14" fmla="*/ 14744 h 2441314"/>
                <a:gd name="connsiteX15" fmla="*/ 1235658 w 3168609"/>
                <a:gd name="connsiteY15" fmla="*/ 14749 h 2441314"/>
                <a:gd name="connsiteX16" fmla="*/ 1248718 w 3168609"/>
                <a:gd name="connsiteY16" fmla="*/ 16002 h 2441314"/>
                <a:gd name="connsiteX17" fmla="*/ 1326625 w 3168609"/>
                <a:gd name="connsiteY17" fmla="*/ 93909 h 2441314"/>
                <a:gd name="connsiteX18" fmla="*/ 1948248 w 3168609"/>
                <a:gd name="connsiteY18" fmla="*/ 424631 h 2441314"/>
                <a:gd name="connsiteX19" fmla="*/ 2109239 w 3168609"/>
                <a:gd name="connsiteY19" fmla="*/ 440061 h 2441314"/>
                <a:gd name="connsiteX20" fmla="*/ 2209029 w 3168609"/>
                <a:gd name="connsiteY20" fmla="*/ 539852 h 2441314"/>
                <a:gd name="connsiteX21" fmla="*/ 2209029 w 3168609"/>
                <a:gd name="connsiteY21" fmla="*/ 539846 h 2441314"/>
                <a:gd name="connsiteX22" fmla="*/ 2109239 w 3168609"/>
                <a:gd name="connsiteY22" fmla="*/ 440056 h 2441314"/>
                <a:gd name="connsiteX23" fmla="*/ 2178290 w 3168609"/>
                <a:gd name="connsiteY23" fmla="*/ 446677 h 2441314"/>
                <a:gd name="connsiteX24" fmla="*/ 2209029 w 3168609"/>
                <a:gd name="connsiteY24" fmla="*/ 443731 h 2441314"/>
                <a:gd name="connsiteX25" fmla="*/ 2209029 w 3168609"/>
                <a:gd name="connsiteY25" fmla="*/ 442767 h 2441314"/>
                <a:gd name="connsiteX26" fmla="*/ 2214056 w 3168609"/>
                <a:gd name="connsiteY26" fmla="*/ 443249 h 2441314"/>
                <a:gd name="connsiteX27" fmla="*/ 2219080 w 3168609"/>
                <a:gd name="connsiteY27" fmla="*/ 442767 h 2441314"/>
                <a:gd name="connsiteX28" fmla="*/ 2219080 w 3168609"/>
                <a:gd name="connsiteY28" fmla="*/ 443731 h 2441314"/>
                <a:gd name="connsiteX29" fmla="*/ 2249819 w 3168609"/>
                <a:gd name="connsiteY29" fmla="*/ 446677 h 2441314"/>
                <a:gd name="connsiteX30" fmla="*/ 2318870 w 3168609"/>
                <a:gd name="connsiteY30" fmla="*/ 440056 h 2441314"/>
                <a:gd name="connsiteX31" fmla="*/ 2219080 w 3168609"/>
                <a:gd name="connsiteY31" fmla="*/ 539846 h 2441314"/>
                <a:gd name="connsiteX32" fmla="*/ 2219080 w 3168609"/>
                <a:gd name="connsiteY32" fmla="*/ 539852 h 2441314"/>
                <a:gd name="connsiteX33" fmla="*/ 2318870 w 3168609"/>
                <a:gd name="connsiteY33" fmla="*/ 440061 h 2441314"/>
                <a:gd name="connsiteX34" fmla="*/ 2479861 w 3168609"/>
                <a:gd name="connsiteY34" fmla="*/ 424631 h 2441314"/>
                <a:gd name="connsiteX35" fmla="*/ 3101484 w 3168609"/>
                <a:gd name="connsiteY35" fmla="*/ 93909 h 2441314"/>
                <a:gd name="connsiteX36" fmla="*/ 3168609 w 3168609"/>
                <a:gd name="connsiteY36" fmla="*/ 26783 h 2441314"/>
                <a:gd name="connsiteX37" fmla="*/ 3168609 w 3168609"/>
                <a:gd name="connsiteY37" fmla="*/ 1773234 h 2441314"/>
                <a:gd name="connsiteX38" fmla="*/ 2678171 w 3168609"/>
                <a:gd name="connsiteY38" fmla="*/ 2263671 h 2441314"/>
                <a:gd name="connsiteX39" fmla="*/ 2249303 w 3168609"/>
                <a:gd name="connsiteY39" fmla="*/ 2441314 h 2441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168609" h="2441314">
                  <a:moveTo>
                    <a:pt x="2214056" y="544879"/>
                  </a:moveTo>
                  <a:lnTo>
                    <a:pt x="2214058" y="544875"/>
                  </a:lnTo>
                  <a:lnTo>
                    <a:pt x="2214056" y="544872"/>
                  </a:lnTo>
                  <a:lnTo>
                    <a:pt x="2214051" y="544875"/>
                  </a:lnTo>
                  <a:close/>
                  <a:moveTo>
                    <a:pt x="2249303" y="2441314"/>
                  </a:moveTo>
                  <a:lnTo>
                    <a:pt x="2214055" y="2437935"/>
                  </a:lnTo>
                  <a:lnTo>
                    <a:pt x="2178806" y="2441314"/>
                  </a:lnTo>
                  <a:cubicBezTo>
                    <a:pt x="2023586" y="2441314"/>
                    <a:pt x="1868366" y="2382101"/>
                    <a:pt x="1749938" y="2263671"/>
                  </a:cubicBezTo>
                  <a:lnTo>
                    <a:pt x="1235656" y="1749389"/>
                  </a:lnTo>
                  <a:lnTo>
                    <a:pt x="1235656" y="1749383"/>
                  </a:lnTo>
                  <a:lnTo>
                    <a:pt x="0" y="513728"/>
                  </a:lnTo>
                  <a:lnTo>
                    <a:pt x="0" y="494466"/>
                  </a:lnTo>
                  <a:lnTo>
                    <a:pt x="79140" y="415326"/>
                  </a:lnTo>
                  <a:cubicBezTo>
                    <a:pt x="356024" y="138441"/>
                    <a:pt x="718924" y="0"/>
                    <a:pt x="1081824" y="0"/>
                  </a:cubicBezTo>
                  <a:lnTo>
                    <a:pt x="1235658" y="14744"/>
                  </a:lnTo>
                  <a:lnTo>
                    <a:pt x="1235658" y="14749"/>
                  </a:lnTo>
                  <a:lnTo>
                    <a:pt x="1248718" y="16002"/>
                  </a:lnTo>
                  <a:lnTo>
                    <a:pt x="1326625" y="93909"/>
                  </a:lnTo>
                  <a:cubicBezTo>
                    <a:pt x="1503011" y="270294"/>
                    <a:pt x="1720493" y="380534"/>
                    <a:pt x="1948248" y="424631"/>
                  </a:cubicBezTo>
                  <a:lnTo>
                    <a:pt x="2109239" y="440061"/>
                  </a:lnTo>
                  <a:lnTo>
                    <a:pt x="2209029" y="539852"/>
                  </a:lnTo>
                  <a:lnTo>
                    <a:pt x="2209029" y="539846"/>
                  </a:lnTo>
                  <a:lnTo>
                    <a:pt x="2109239" y="440056"/>
                  </a:lnTo>
                  <a:lnTo>
                    <a:pt x="2178290" y="446677"/>
                  </a:lnTo>
                  <a:lnTo>
                    <a:pt x="2209029" y="443731"/>
                  </a:lnTo>
                  <a:lnTo>
                    <a:pt x="2209029" y="442767"/>
                  </a:lnTo>
                  <a:lnTo>
                    <a:pt x="2214056" y="443249"/>
                  </a:lnTo>
                  <a:lnTo>
                    <a:pt x="2219080" y="442767"/>
                  </a:lnTo>
                  <a:lnTo>
                    <a:pt x="2219080" y="443731"/>
                  </a:lnTo>
                  <a:lnTo>
                    <a:pt x="2249819" y="446677"/>
                  </a:lnTo>
                  <a:lnTo>
                    <a:pt x="2318870" y="440056"/>
                  </a:lnTo>
                  <a:lnTo>
                    <a:pt x="2219080" y="539846"/>
                  </a:lnTo>
                  <a:lnTo>
                    <a:pt x="2219080" y="539852"/>
                  </a:lnTo>
                  <a:lnTo>
                    <a:pt x="2318870" y="440061"/>
                  </a:lnTo>
                  <a:lnTo>
                    <a:pt x="2479861" y="424631"/>
                  </a:lnTo>
                  <a:cubicBezTo>
                    <a:pt x="2707616" y="380534"/>
                    <a:pt x="2925098" y="270294"/>
                    <a:pt x="3101484" y="93909"/>
                  </a:cubicBezTo>
                  <a:lnTo>
                    <a:pt x="3168609" y="26783"/>
                  </a:lnTo>
                  <a:lnTo>
                    <a:pt x="3168609" y="1773234"/>
                  </a:lnTo>
                  <a:lnTo>
                    <a:pt x="2678171" y="2263671"/>
                  </a:lnTo>
                  <a:cubicBezTo>
                    <a:pt x="2559743" y="2382101"/>
                    <a:pt x="2404523" y="2441314"/>
                    <a:pt x="2249303" y="244131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4" name="Date Placeholder 3">
            <a:extLst>
              <a:ext uri="{FF2B5EF4-FFF2-40B4-BE49-F238E27FC236}">
                <a16:creationId xmlns:a16="http://schemas.microsoft.com/office/drawing/2014/main" id="{4708C33D-0D8A-C7D0-E395-326B60886F45}"/>
              </a:ext>
            </a:extLst>
          </p:cNvPr>
          <p:cNvSpPr>
            <a:spLocks noGrp="1"/>
          </p:cNvSpPr>
          <p:nvPr>
            <p:ph type="dt" sz="half" idx="11"/>
          </p:nvPr>
        </p:nvSpPr>
        <p:spPr/>
        <p:txBody>
          <a:bodyPr/>
          <a:lstStyle/>
          <a:p>
            <a:fld id="{1808E32F-EA23-4C33-8FA6-09644DFD2EB7}" type="datetime1">
              <a:rPr lang="en-US" smtClean="0"/>
              <a:t>4/13/2023</a:t>
            </a:fld>
            <a:endParaRPr lang="en-US"/>
          </a:p>
        </p:txBody>
      </p:sp>
      <p:sp>
        <p:nvSpPr>
          <p:cNvPr id="6" name="Footer Placeholder 5">
            <a:extLst>
              <a:ext uri="{FF2B5EF4-FFF2-40B4-BE49-F238E27FC236}">
                <a16:creationId xmlns:a16="http://schemas.microsoft.com/office/drawing/2014/main" id="{0E433E17-EAD1-6FF0-BF67-15959BB3DFE9}"/>
              </a:ext>
            </a:extLst>
          </p:cNvPr>
          <p:cNvSpPr>
            <a:spLocks noGrp="1"/>
          </p:cNvSpPr>
          <p:nvPr>
            <p:ph type="ftr" sz="quarter" idx="12"/>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12F034D5-B099-8F04-CDA7-23AC0B268C27}"/>
              </a:ext>
            </a:extLst>
          </p:cNvPr>
          <p:cNvSpPr>
            <a:spLocks noGrp="1"/>
          </p:cNvSpPr>
          <p:nvPr>
            <p:ph type="sldNum" sz="quarter" idx="13"/>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4" name="Graphic 13">
            <a:extLst>
              <a:ext uri="{FF2B5EF4-FFF2-40B4-BE49-F238E27FC236}">
                <a16:creationId xmlns:a16="http://schemas.microsoft.com/office/drawing/2014/main" id="{4825B50A-8EF7-1247-3824-2237A409502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728683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p:bg>
      <p:bgPr>
        <a:solidFill>
          <a:schemeClr val="tx2"/>
        </a:solidFill>
        <a:effectLst/>
      </p:bgPr>
    </p:bg>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E65DE6B9-8F07-CD45-486A-6D15EFA85A0C}"/>
              </a:ext>
            </a:extLst>
          </p:cNvPr>
          <p:cNvSpPr/>
          <p:nvPr userDrawn="1"/>
        </p:nvSpPr>
        <p:spPr>
          <a:xfrm>
            <a:off x="0" y="4461737"/>
            <a:ext cx="2719338" cy="2396263"/>
          </a:xfrm>
          <a:custGeom>
            <a:avLst/>
            <a:gdLst>
              <a:gd name="connsiteX0" fmla="*/ 1585247 w 2719338"/>
              <a:gd name="connsiteY0" fmla="*/ 105 h 2396263"/>
              <a:gd name="connsiteX1" fmla="*/ 1714102 w 2719338"/>
              <a:gd name="connsiteY1" fmla="*/ 16278 h 2396263"/>
              <a:gd name="connsiteX2" fmla="*/ 2018836 w 2719338"/>
              <a:gd name="connsiteY2" fmla="*/ 305250 h 2396263"/>
              <a:gd name="connsiteX3" fmla="*/ 2719338 w 2719338"/>
              <a:gd name="connsiteY3" fmla="*/ 2396263 h 2396263"/>
              <a:gd name="connsiteX4" fmla="*/ 0 w 2719338"/>
              <a:gd name="connsiteY4" fmla="*/ 2396262 h 2396263"/>
              <a:gd name="connsiteX5" fmla="*/ 0 w 2719338"/>
              <a:gd name="connsiteY5" fmla="*/ 509971 h 2396263"/>
              <a:gd name="connsiteX6" fmla="*/ 1452772 w 2719338"/>
              <a:gd name="connsiteY6" fmla="*/ 23282 h 2396263"/>
              <a:gd name="connsiteX7" fmla="*/ 1585247 w 2719338"/>
              <a:gd name="connsiteY7" fmla="*/ 105 h 23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9338" h="2396263">
                <a:moveTo>
                  <a:pt x="1585247" y="105"/>
                </a:moveTo>
                <a:cubicBezTo>
                  <a:pt x="1629229" y="-850"/>
                  <a:pt x="1672607" y="4753"/>
                  <a:pt x="1714102" y="16278"/>
                </a:cubicBezTo>
                <a:cubicBezTo>
                  <a:pt x="1852418" y="54691"/>
                  <a:pt x="1969802" y="158890"/>
                  <a:pt x="2018836" y="305250"/>
                </a:cubicBezTo>
                <a:lnTo>
                  <a:pt x="2719338" y="2396263"/>
                </a:lnTo>
                <a:lnTo>
                  <a:pt x="0" y="2396262"/>
                </a:lnTo>
                <a:lnTo>
                  <a:pt x="0" y="509971"/>
                </a:lnTo>
                <a:lnTo>
                  <a:pt x="1452772" y="23282"/>
                </a:lnTo>
                <a:cubicBezTo>
                  <a:pt x="1496679" y="8574"/>
                  <a:pt x="1541264" y="1059"/>
                  <a:pt x="1585247" y="1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194341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2853465"/>
            <a:ext cx="5638801" cy="1495238"/>
          </a:xfrm>
        </p:spPr>
        <p:txBody>
          <a:bodyPr/>
          <a:lstStyle>
            <a:lvl1pPr marL="0" indent="0" algn="l">
              <a:spcBef>
                <a:spcPts val="0"/>
              </a:spcBef>
              <a:buNone/>
              <a:defRPr sz="2400" b="0">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457201"/>
            <a:ext cx="5638801" cy="2396264"/>
          </a:xfrm>
        </p:spPr>
        <p:txBody>
          <a:bodyPr vert="horz" anchor="b"/>
          <a:lstStyle>
            <a:lvl1pPr algn="l">
              <a:defRPr sz="3200" b="1">
                <a:solidFill>
                  <a:schemeClr val="bg2"/>
                </a:solidFill>
              </a:defRPr>
            </a:lvl1pPr>
          </a:lstStyle>
          <a:p>
            <a:r>
              <a:rPr lang="en-GB"/>
              <a:t>Click to edit Master title style</a:t>
            </a:r>
            <a:endParaRPr lang="en-US"/>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4900963"/>
            <a:ext cx="1099228" cy="1099228"/>
          </a:xfrm>
          <a:prstGeom prst="ellipse">
            <a:avLst/>
          </a:prstGeom>
          <a:solidFill>
            <a:schemeClr val="bg1"/>
          </a:solidFill>
        </p:spPr>
        <p:txBody>
          <a:bodyPr wrap="none" lIns="72000" anchor="ctr" anchorCtr="0"/>
          <a:lstStyle>
            <a:lvl1pPr marL="0" indent="0" algn="ctr" rtl="0">
              <a:buNone/>
              <a:defRPr sz="5400" b="1">
                <a:solidFill>
                  <a:schemeClr val="tx2"/>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1"/>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0B9A7C56-8272-DE62-2C75-20E38B73610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7F376A17-C22F-8F9A-8BAD-4C60686F7403}"/>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79581132-167D-A1BF-D246-691A46865A6A}"/>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52678460-E4C4-5343-1E18-121169BB76FE}"/>
              </a:ext>
            </a:extLst>
          </p:cNvPr>
          <p:cNvSpPr>
            <a:spLocks noGrp="1"/>
          </p:cNvSpPr>
          <p:nvPr>
            <p:ph type="sldNum" sz="quarter" idx="17"/>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50625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ection Header - With Image 2">
    <p:bg>
      <p:bgPr>
        <a:solidFill>
          <a:schemeClr val="tx2"/>
        </a:solidFill>
        <a:effectLst/>
      </p:bgPr>
    </p:bg>
    <p:spTree>
      <p:nvGrpSpPr>
        <p:cNvPr id="1" name=""/>
        <p:cNvGrpSpPr/>
        <p:nvPr/>
      </p:nvGrpSpPr>
      <p:grpSpPr>
        <a:xfrm>
          <a:off x="0" y="0"/>
          <a:ext cx="0" cy="0"/>
          <a:chOff x="0" y="0"/>
          <a:chExt cx="0" cy="0"/>
        </a:xfrm>
      </p:grpSpPr>
      <p:sp>
        <p:nvSpPr>
          <p:cNvPr id="24" name="Freeform: Shape 23">
            <a:extLst>
              <a:ext uri="{FF2B5EF4-FFF2-40B4-BE49-F238E27FC236}">
                <a16:creationId xmlns:a16="http://schemas.microsoft.com/office/drawing/2014/main" id="{9629756D-B26A-C8BF-30B8-301EF1945FCA}"/>
              </a:ext>
            </a:extLst>
          </p:cNvPr>
          <p:cNvSpPr/>
          <p:nvPr userDrawn="1"/>
        </p:nvSpPr>
        <p:spPr>
          <a:xfrm>
            <a:off x="0" y="0"/>
            <a:ext cx="12190412" cy="6858000"/>
          </a:xfrm>
          <a:custGeom>
            <a:avLst/>
            <a:gdLst>
              <a:gd name="connsiteX0" fmla="*/ 2719338 w 12190412"/>
              <a:gd name="connsiteY0" fmla="*/ 0 h 6858000"/>
              <a:gd name="connsiteX1" fmla="*/ 12190412 w 12190412"/>
              <a:gd name="connsiteY1" fmla="*/ 0 h 6858000"/>
              <a:gd name="connsiteX2" fmla="*/ 12190412 w 12190412"/>
              <a:gd name="connsiteY2" fmla="*/ 6858000 h 6858000"/>
              <a:gd name="connsiteX3" fmla="*/ 0 w 12190412"/>
              <a:gd name="connsiteY3" fmla="*/ 6858000 h 6858000"/>
              <a:gd name="connsiteX4" fmla="*/ 0 w 12190412"/>
              <a:gd name="connsiteY4" fmla="*/ 1886292 h 6858000"/>
              <a:gd name="connsiteX5" fmla="*/ 1452772 w 12190412"/>
              <a:gd name="connsiteY5" fmla="*/ 2372981 h 6858000"/>
              <a:gd name="connsiteX6" fmla="*/ 1585247 w 12190412"/>
              <a:gd name="connsiteY6" fmla="*/ 2396158 h 6858000"/>
              <a:gd name="connsiteX7" fmla="*/ 1714102 w 12190412"/>
              <a:gd name="connsiteY7" fmla="*/ 2379985 h 6858000"/>
              <a:gd name="connsiteX8" fmla="*/ 2018836 w 12190412"/>
              <a:gd name="connsiteY8" fmla="*/ 2091013 h 6858000"/>
              <a:gd name="connsiteX9" fmla="*/ 2719338 w 12190412"/>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0412" h="6858000">
                <a:moveTo>
                  <a:pt x="2719338" y="0"/>
                </a:moveTo>
                <a:lnTo>
                  <a:pt x="12190412" y="0"/>
                </a:lnTo>
                <a:lnTo>
                  <a:pt x="12190412" y="6858000"/>
                </a:lnTo>
                <a:lnTo>
                  <a:pt x="0" y="6858000"/>
                </a:lnTo>
                <a:lnTo>
                  <a:pt x="0" y="1886292"/>
                </a:lnTo>
                <a:lnTo>
                  <a:pt x="1452772" y="2372981"/>
                </a:lnTo>
                <a:cubicBezTo>
                  <a:pt x="1496679" y="2387689"/>
                  <a:pt x="1541264" y="2395204"/>
                  <a:pt x="1585247" y="2396158"/>
                </a:cubicBezTo>
                <a:cubicBezTo>
                  <a:pt x="1629229" y="2397113"/>
                  <a:pt x="1672607" y="2391510"/>
                  <a:pt x="1714102" y="2379985"/>
                </a:cubicBezTo>
                <a:cubicBezTo>
                  <a:pt x="1852418" y="2341572"/>
                  <a:pt x="1969802" y="2237373"/>
                  <a:pt x="2018836" y="2091013"/>
                </a:cubicBezTo>
                <a:lnTo>
                  <a:pt x="271933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5" name="Object 4" hidden="1">
            <a:extLst>
              <a:ext uri="{FF2B5EF4-FFF2-40B4-BE49-F238E27FC236}">
                <a16:creationId xmlns:a16="http://schemas.microsoft.com/office/drawing/2014/main" id="{298D7A6A-715A-5FEA-515E-4F253BD84937}"/>
              </a:ext>
            </a:extLst>
          </p:cNvPr>
          <p:cNvGraphicFramePr>
            <a:graphicFrameLocks noChangeAspect="1"/>
          </p:cNvGraphicFramePr>
          <p:nvPr userDrawn="1">
            <p:custDataLst>
              <p:tags r:id="rId2"/>
            </p:custDataLst>
            <p:extLst>
              <p:ext uri="{D42A27DB-BD31-4B8C-83A1-F6EECF244321}">
                <p14:modId xmlns:p14="http://schemas.microsoft.com/office/powerpoint/2010/main" val="397868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98D7A6A-715A-5FEA-515E-4F253BD849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E6ABA50-BB36-2513-B7E8-AB79C83B5EF0}"/>
              </a:ext>
            </a:extLst>
          </p:cNvPr>
          <p:cNvSpPr>
            <a:spLocks noGrp="1"/>
          </p:cNvSpPr>
          <p:nvPr userDrawn="1">
            <p:ph type="body" idx="1"/>
          </p:nvPr>
        </p:nvSpPr>
        <p:spPr>
          <a:xfrm>
            <a:off x="475922" y="4599441"/>
            <a:ext cx="5638801" cy="1495238"/>
          </a:xfrm>
        </p:spPr>
        <p:txBody>
          <a:bodyPr/>
          <a:lstStyle>
            <a:lvl1pPr marL="0" indent="0" algn="l">
              <a:spcBef>
                <a:spcPts val="0"/>
              </a:spcBef>
              <a:buNone/>
              <a:defRPr sz="2400" b="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2" name="Title 1">
            <a:extLst>
              <a:ext uri="{FF2B5EF4-FFF2-40B4-BE49-F238E27FC236}">
                <a16:creationId xmlns:a16="http://schemas.microsoft.com/office/drawing/2014/main" id="{FF71232B-F97E-A6AE-A19A-F77997950CFE}"/>
              </a:ext>
            </a:extLst>
          </p:cNvPr>
          <p:cNvSpPr>
            <a:spLocks noGrp="1"/>
          </p:cNvSpPr>
          <p:nvPr userDrawn="1">
            <p:ph type="title"/>
          </p:nvPr>
        </p:nvSpPr>
        <p:spPr>
          <a:xfrm>
            <a:off x="457199" y="2203177"/>
            <a:ext cx="5638801" cy="2396264"/>
          </a:xfrm>
        </p:spPr>
        <p:txBody>
          <a:bodyPr vert="horz" anchor="b"/>
          <a:lstStyle>
            <a:lvl1pPr algn="l">
              <a:defRPr sz="3200" b="1">
                <a:solidFill>
                  <a:schemeClr val="tx2"/>
                </a:solidFill>
              </a:defRPr>
            </a:lvl1pPr>
          </a:lstStyle>
          <a:p>
            <a:r>
              <a:rPr lang="en-GB"/>
              <a:t>Click to edit Master title style</a:t>
            </a:r>
            <a:endParaRPr lang="en-US"/>
          </a:p>
        </p:txBody>
      </p:sp>
      <p:sp>
        <p:nvSpPr>
          <p:cNvPr id="146" name="Text Placeholder 145">
            <a:extLst>
              <a:ext uri="{FF2B5EF4-FFF2-40B4-BE49-F238E27FC236}">
                <a16:creationId xmlns:a16="http://schemas.microsoft.com/office/drawing/2014/main" id="{06A37646-E5B7-0979-2369-F3B33DDE321B}"/>
              </a:ext>
            </a:extLst>
          </p:cNvPr>
          <p:cNvSpPr>
            <a:spLocks noGrp="1"/>
          </p:cNvSpPr>
          <p:nvPr>
            <p:ph type="body" sz="quarter" idx="10" hasCustomPrompt="1"/>
          </p:nvPr>
        </p:nvSpPr>
        <p:spPr>
          <a:xfrm>
            <a:off x="810055" y="969030"/>
            <a:ext cx="1099228" cy="1099228"/>
          </a:xfrm>
          <a:prstGeom prst="ellipse">
            <a:avLst/>
          </a:prstGeom>
          <a:noFill/>
        </p:spPr>
        <p:txBody>
          <a:bodyPr wrap="none" lIns="72000" anchor="ctr" anchorCtr="0"/>
          <a:lstStyle>
            <a:lvl1pPr marL="0" indent="0" algn="ctr" rtl="0">
              <a:buNone/>
              <a:defRPr sz="5400" b="1">
                <a:solidFill>
                  <a:schemeClr val="bg1"/>
                </a:solidFill>
              </a:defRPr>
            </a:lvl1pPr>
          </a:lstStyle>
          <a:p>
            <a:pPr lvl="0"/>
            <a:r>
              <a:rPr lang="en-US"/>
              <a:t>#</a:t>
            </a:r>
          </a:p>
        </p:txBody>
      </p:sp>
      <p:sp>
        <p:nvSpPr>
          <p:cNvPr id="38" name="Picture Placeholder 15">
            <a:extLst>
              <a:ext uri="{FF2B5EF4-FFF2-40B4-BE49-F238E27FC236}">
                <a16:creationId xmlns:a16="http://schemas.microsoft.com/office/drawing/2014/main" id="{1369911E-715C-2EB5-1E07-7B25118AEE9D}"/>
              </a:ext>
            </a:extLst>
          </p:cNvPr>
          <p:cNvSpPr>
            <a:spLocks noGrp="1"/>
          </p:cNvSpPr>
          <p:nvPr>
            <p:ph type="pic" sz="quarter" idx="14" hasCustomPrompt="1"/>
          </p:nvPr>
        </p:nvSpPr>
        <p:spPr>
          <a:xfrm>
            <a:off x="6551397" y="2"/>
            <a:ext cx="5640604" cy="5987275"/>
          </a:xfrm>
          <a:custGeom>
            <a:avLst/>
            <a:gdLst>
              <a:gd name="connsiteX0" fmla="*/ 0 w 5640604"/>
              <a:gd name="connsiteY0" fmla="*/ 0 h 5987275"/>
              <a:gd name="connsiteX1" fmla="*/ 5640604 w 5640604"/>
              <a:gd name="connsiteY1" fmla="*/ 1 h 5987275"/>
              <a:gd name="connsiteX2" fmla="*/ 5640604 w 5640604"/>
              <a:gd name="connsiteY2" fmla="*/ 5151008 h 5987275"/>
              <a:gd name="connsiteX3" fmla="*/ 1655306 w 5640604"/>
              <a:gd name="connsiteY3" fmla="*/ 5978734 h 5987275"/>
              <a:gd name="connsiteX4" fmla="*/ 1176516 w 5640604"/>
              <a:gd name="connsiteY4" fmla="*/ 5664625 h 5987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0604" h="5987275">
                <a:moveTo>
                  <a:pt x="0" y="0"/>
                </a:moveTo>
                <a:lnTo>
                  <a:pt x="5640604" y="1"/>
                </a:lnTo>
                <a:lnTo>
                  <a:pt x="5640604" y="5151008"/>
                </a:lnTo>
                <a:lnTo>
                  <a:pt x="1655306" y="5978734"/>
                </a:lnTo>
                <a:cubicBezTo>
                  <a:pt x="1436353" y="6024210"/>
                  <a:pt x="1221990" y="5883578"/>
                  <a:pt x="1176516" y="5664625"/>
                </a:cubicBezTo>
                <a:close/>
              </a:path>
            </a:pathLst>
          </a:custGeom>
          <a:solidFill>
            <a:schemeClr val="bg2"/>
          </a:solidFill>
        </p:spPr>
        <p:txBody>
          <a:bodyPr wrap="square" bIns="1800000" anchor="ctr">
            <a:noAutofit/>
          </a:bodyPr>
          <a:lstStyle>
            <a:lvl1pPr marL="0" indent="0" algn="ctr">
              <a:spcBef>
                <a:spcPts val="0"/>
              </a:spcBef>
              <a:buNone/>
              <a:defRPr/>
            </a:lvl1pPr>
          </a:lstStyle>
          <a:p>
            <a:pPr marL="228600" lvl="0" indent="-228600" algn="ctr"/>
            <a:r>
              <a:rPr lang="en-US"/>
              <a:t>Click on the icon to add an image </a:t>
            </a:r>
            <a:br>
              <a:rPr lang="en-US"/>
            </a:br>
            <a:r>
              <a:rPr lang="en-US"/>
              <a:t>inside the placeholder.</a:t>
            </a:r>
          </a:p>
        </p:txBody>
      </p:sp>
      <p:pic>
        <p:nvPicPr>
          <p:cNvPr id="9" name="Graphic 8">
            <a:extLst>
              <a:ext uri="{FF2B5EF4-FFF2-40B4-BE49-F238E27FC236}">
                <a16:creationId xmlns:a16="http://schemas.microsoft.com/office/drawing/2014/main" id="{5945E264-49F1-4D02-FF3F-67FF8BB5BA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
        <p:nvSpPr>
          <p:cNvPr id="10" name="Date Placeholder 9">
            <a:extLst>
              <a:ext uri="{FF2B5EF4-FFF2-40B4-BE49-F238E27FC236}">
                <a16:creationId xmlns:a16="http://schemas.microsoft.com/office/drawing/2014/main" id="{1B5EEE65-B893-0A98-410E-1A9578BE6158}"/>
              </a:ext>
            </a:extLst>
          </p:cNvPr>
          <p:cNvSpPr>
            <a:spLocks noGrp="1"/>
          </p:cNvSpPr>
          <p:nvPr>
            <p:ph type="dt" sz="half" idx="15"/>
          </p:nvPr>
        </p:nvSpPr>
        <p:spPr/>
        <p:txBody>
          <a:bodyPr/>
          <a:lstStyle/>
          <a:p>
            <a:fld id="{BABFE860-21FD-4DA0-9E9A-92548ED661C3}" type="datetime1">
              <a:rPr lang="en-US" smtClean="0"/>
              <a:t>4/13/2023</a:t>
            </a:fld>
            <a:endParaRPr lang="en-US"/>
          </a:p>
        </p:txBody>
      </p:sp>
      <p:sp>
        <p:nvSpPr>
          <p:cNvPr id="11" name="Footer Placeholder 10">
            <a:extLst>
              <a:ext uri="{FF2B5EF4-FFF2-40B4-BE49-F238E27FC236}">
                <a16:creationId xmlns:a16="http://schemas.microsoft.com/office/drawing/2014/main" id="{FEFEF251-C351-9593-0C8D-FF17D2E0464C}"/>
              </a:ext>
            </a:extLst>
          </p:cNvPr>
          <p:cNvSpPr>
            <a:spLocks noGrp="1"/>
          </p:cNvSpPr>
          <p:nvPr>
            <p:ph type="ftr" sz="quarter" idx="16"/>
          </p:nvPr>
        </p:nvSpPr>
        <p:spPr/>
        <p:txBody>
          <a:bodyPr/>
          <a:lstStyle/>
          <a:p>
            <a:endParaRPr lang="en-US"/>
          </a:p>
        </p:txBody>
      </p:sp>
      <p:sp>
        <p:nvSpPr>
          <p:cNvPr id="12" name="Slide Number Placeholder 11">
            <a:extLst>
              <a:ext uri="{FF2B5EF4-FFF2-40B4-BE49-F238E27FC236}">
                <a16:creationId xmlns:a16="http://schemas.microsoft.com/office/drawing/2014/main" id="{242D9A00-7555-9A84-DF6F-DB2C4C19EBA4}"/>
              </a:ext>
            </a:extLst>
          </p:cNvPr>
          <p:cNvSpPr>
            <a:spLocks noGrp="1"/>
          </p:cNvSpPr>
          <p:nvPr>
            <p:ph type="sldNum" sz="quarter" idx="17"/>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29842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CF02C9-342D-E7D9-DE08-C2DD7B9E2528}"/>
              </a:ext>
            </a:extLst>
          </p:cNvPr>
          <p:cNvGraphicFramePr>
            <a:graphicFrameLocks noChangeAspect="1"/>
          </p:cNvGraphicFramePr>
          <p:nvPr>
            <p:custDataLst>
              <p:tags r:id="rId2"/>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B7CF02C9-342D-E7D9-DE08-C2DD7B9E25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6FB5C498-60AD-80EA-3A93-C55F587E0003}"/>
              </a:ext>
            </a:extLst>
          </p:cNvPr>
          <p:cNvGraphicFramePr>
            <a:graphicFrameLocks noChangeAspect="1"/>
          </p:cNvGraphicFramePr>
          <p:nvPr userDrawn="1">
            <p:custDataLst>
              <p:tags r:id="rId3"/>
            </p:custDataLst>
            <p:extLst>
              <p:ext uri="{D42A27DB-BD31-4B8C-83A1-F6EECF244321}">
                <p14:modId xmlns:p14="http://schemas.microsoft.com/office/powerpoint/2010/main" val="302221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a16="http://schemas.microsoft.com/office/drawing/2014/main" id="{6FB5C498-60AD-80EA-3A93-C55F587E0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A96DD058-0B59-2604-D31B-7A99CBA2E248}"/>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5DE5F930-1381-301D-AC92-702D3431F44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66C4AC-452C-3445-4E99-7BC3EDF869C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5161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D99DB-0D62-CEF2-B5D9-43EB143996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9E66F91-5CCD-C511-7899-A8FAA82E82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88A43A-1B62-CF52-43EA-7CB460E65A78}"/>
              </a:ext>
            </a:extLst>
          </p:cNvPr>
          <p:cNvSpPr>
            <a:spLocks noGrp="1"/>
          </p:cNvSpPr>
          <p:nvPr>
            <p:ph type="dt" sz="half" idx="10"/>
          </p:nvPr>
        </p:nvSpPr>
        <p:spPr/>
        <p:txBody>
          <a:bodyPr/>
          <a:lstStyle/>
          <a:p>
            <a:fld id="{CF712482-C992-420F-8C53-B2E1343E280E}" type="datetimeFigureOut">
              <a:rPr lang="en-US" smtClean="0"/>
              <a:t>4/13/2023</a:t>
            </a:fld>
            <a:endParaRPr lang="en-US"/>
          </a:p>
        </p:txBody>
      </p:sp>
      <p:sp>
        <p:nvSpPr>
          <p:cNvPr id="5" name="Footer Placeholder 4">
            <a:extLst>
              <a:ext uri="{FF2B5EF4-FFF2-40B4-BE49-F238E27FC236}">
                <a16:creationId xmlns:a16="http://schemas.microsoft.com/office/drawing/2014/main" id="{70E79657-FE1C-5F66-045F-06B00B30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6C1CF3-277E-D684-9426-98D366F394EE}"/>
              </a:ext>
            </a:extLst>
          </p:cNvPr>
          <p:cNvSpPr>
            <a:spLocks noGrp="1"/>
          </p:cNvSpPr>
          <p:nvPr>
            <p:ph type="sldNum" sz="quarter" idx="12"/>
          </p:nvPr>
        </p:nvSpPr>
        <p:spPr/>
        <p:txBody>
          <a:bodyPr/>
          <a:lstStyle/>
          <a:p>
            <a:fld id="{D9F6BBA2-40AC-45B2-A609-20F082A5AB2A}" type="slidenum">
              <a:rPr lang="en-US" smtClean="0"/>
              <a:t>‹#›</a:t>
            </a:fld>
            <a:endParaRPr lang="en-US"/>
          </a:p>
        </p:txBody>
      </p:sp>
    </p:spTree>
    <p:extLst>
      <p:ext uri="{BB962C8B-B14F-4D97-AF65-F5344CB8AC3E}">
        <p14:creationId xmlns:p14="http://schemas.microsoft.com/office/powerpoint/2010/main" val="8564244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117D7-5905-8BF5-831A-F24E389C6EA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1BC94A4-D655-775D-C6AA-3752F4DCB1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DDC7432-7ED1-38EB-5E1A-0DD876015346}"/>
              </a:ext>
            </a:extLst>
          </p:cNvPr>
          <p:cNvSpPr>
            <a:spLocks noGrp="1"/>
          </p:cNvSpPr>
          <p:nvPr>
            <p:ph type="dt" sz="half" idx="10"/>
          </p:nvPr>
        </p:nvSpPr>
        <p:spPr/>
        <p:txBody>
          <a:bodyPr/>
          <a:lstStyle/>
          <a:p>
            <a:fld id="{CF712482-C992-420F-8C53-B2E1343E280E}" type="datetimeFigureOut">
              <a:rPr lang="en-US" smtClean="0"/>
              <a:t>4/13/2023</a:t>
            </a:fld>
            <a:endParaRPr lang="en-US"/>
          </a:p>
        </p:txBody>
      </p:sp>
      <p:sp>
        <p:nvSpPr>
          <p:cNvPr id="5" name="Footer Placeholder 4">
            <a:extLst>
              <a:ext uri="{FF2B5EF4-FFF2-40B4-BE49-F238E27FC236}">
                <a16:creationId xmlns:a16="http://schemas.microsoft.com/office/drawing/2014/main" id="{E05BB851-D2F7-CAA5-95C8-031796E2C06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C8E05D-54A9-6B2A-AE29-2A27C3B9F1DA}"/>
              </a:ext>
            </a:extLst>
          </p:cNvPr>
          <p:cNvSpPr>
            <a:spLocks noGrp="1"/>
          </p:cNvSpPr>
          <p:nvPr>
            <p:ph type="sldNum" sz="quarter" idx="12"/>
          </p:nvPr>
        </p:nvSpPr>
        <p:spPr/>
        <p:txBody>
          <a:bodyPr/>
          <a:lstStyle/>
          <a:p>
            <a:fld id="{D9F6BBA2-40AC-45B2-A609-20F082A5AB2A}" type="slidenum">
              <a:rPr lang="en-US" smtClean="0"/>
              <a:t>‹#›</a:t>
            </a:fld>
            <a:endParaRPr lang="en-US"/>
          </a:p>
        </p:txBody>
      </p:sp>
    </p:spTree>
    <p:extLst>
      <p:ext uri="{BB962C8B-B14F-4D97-AF65-F5344CB8AC3E}">
        <p14:creationId xmlns:p14="http://schemas.microsoft.com/office/powerpoint/2010/main" val="37602139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29CF3-74B8-4A3A-80E8-28E7412B07F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7160F81-F9B2-3ACF-E256-078BF9AF79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A6A136-C8C9-0E57-EFDB-FF326404D1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0A0BFE-33B4-B28F-A583-962607717178}"/>
              </a:ext>
            </a:extLst>
          </p:cNvPr>
          <p:cNvSpPr>
            <a:spLocks noGrp="1"/>
          </p:cNvSpPr>
          <p:nvPr>
            <p:ph type="dt" sz="half" idx="10"/>
          </p:nvPr>
        </p:nvSpPr>
        <p:spPr/>
        <p:txBody>
          <a:bodyPr/>
          <a:lstStyle/>
          <a:p>
            <a:fld id="{CF712482-C992-420F-8C53-B2E1343E280E}" type="datetimeFigureOut">
              <a:rPr lang="en-US" smtClean="0"/>
              <a:t>4/13/2023</a:t>
            </a:fld>
            <a:endParaRPr lang="en-US"/>
          </a:p>
        </p:txBody>
      </p:sp>
      <p:sp>
        <p:nvSpPr>
          <p:cNvPr id="6" name="Footer Placeholder 5">
            <a:extLst>
              <a:ext uri="{FF2B5EF4-FFF2-40B4-BE49-F238E27FC236}">
                <a16:creationId xmlns:a16="http://schemas.microsoft.com/office/drawing/2014/main" id="{07BDE340-2201-2F8B-1FD4-6BE308A722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78F4D1-9DB7-FBE5-55F4-B59F89F5BF76}"/>
              </a:ext>
            </a:extLst>
          </p:cNvPr>
          <p:cNvSpPr>
            <a:spLocks noGrp="1"/>
          </p:cNvSpPr>
          <p:nvPr>
            <p:ph type="sldNum" sz="quarter" idx="12"/>
          </p:nvPr>
        </p:nvSpPr>
        <p:spPr/>
        <p:txBody>
          <a:bodyPr/>
          <a:lstStyle/>
          <a:p>
            <a:fld id="{D9F6BBA2-40AC-45B2-A609-20F082A5AB2A}" type="slidenum">
              <a:rPr lang="en-US" smtClean="0"/>
              <a:t>‹#›</a:t>
            </a:fld>
            <a:endParaRPr lang="en-US"/>
          </a:p>
        </p:txBody>
      </p:sp>
    </p:spTree>
    <p:extLst>
      <p:ext uri="{BB962C8B-B14F-4D97-AF65-F5344CB8AC3E}">
        <p14:creationId xmlns:p14="http://schemas.microsoft.com/office/powerpoint/2010/main" val="127785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2"/>
            </p:custDataLst>
            <p:extLst>
              <p:ext uri="{D42A27DB-BD31-4B8C-83A1-F6EECF244321}">
                <p14:modId xmlns:p14="http://schemas.microsoft.com/office/powerpoint/2010/main" val="132126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4/1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GB"/>
              <a:t>Click to edit Master title style</a:t>
            </a:r>
            <a:endParaRPr lang="en-US"/>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1"/>
    </p:custDataLst>
    <p:extLst>
      <p:ext uri="{BB962C8B-B14F-4D97-AF65-F5344CB8AC3E}">
        <p14:creationId xmlns:p14="http://schemas.microsoft.com/office/powerpoint/2010/main" val="8793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D0B48C-D978-B2E0-E14A-48899E30175A}"/>
              </a:ext>
            </a:extLst>
          </p:cNvPr>
          <p:cNvGraphicFramePr>
            <a:graphicFrameLocks noChangeAspect="1"/>
          </p:cNvGraphicFramePr>
          <p:nvPr>
            <p:custDataLst>
              <p:tags r:id="rId2"/>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DD0B48C-D978-B2E0-E14A-48899E3017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Freeform: Shape 14">
            <a:extLst>
              <a:ext uri="{FF2B5EF4-FFF2-40B4-BE49-F238E27FC236}">
                <a16:creationId xmlns:a16="http://schemas.microsoft.com/office/drawing/2014/main" id="{4365851F-B219-A9E8-EF32-CFD56B30E899}"/>
              </a:ext>
            </a:extLst>
          </p:cNvPr>
          <p:cNvSpPr/>
          <p:nvPr userDrawn="1"/>
        </p:nvSpPr>
        <p:spPr>
          <a:xfrm>
            <a:off x="5279642" y="1196975"/>
            <a:ext cx="6912359" cy="5661025"/>
          </a:xfrm>
          <a:custGeom>
            <a:avLst/>
            <a:gdLst>
              <a:gd name="connsiteX0" fmla="*/ 1283599 w 6912359"/>
              <a:gd name="connsiteY0" fmla="*/ 365 h 5661025"/>
              <a:gd name="connsiteX1" fmla="*/ 1373350 w 6912359"/>
              <a:gd name="connsiteY1" fmla="*/ 5762 h 5661025"/>
              <a:gd name="connsiteX2" fmla="*/ 6912359 w 6912359"/>
              <a:gd name="connsiteY2" fmla="*/ 911948 h 5661025"/>
              <a:gd name="connsiteX3" fmla="*/ 6912359 w 6912359"/>
              <a:gd name="connsiteY3" fmla="*/ 5661025 h 5661025"/>
              <a:gd name="connsiteX4" fmla="*/ 0 w 6912359"/>
              <a:gd name="connsiteY4" fmla="*/ 5661025 h 5661025"/>
              <a:gd name="connsiteX5" fmla="*/ 865238 w 6912359"/>
              <a:gd name="connsiteY5" fmla="*/ 370489 h 5661025"/>
              <a:gd name="connsiteX6" fmla="*/ 1283599 w 6912359"/>
              <a:gd name="connsiteY6" fmla="*/ 365 h 566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2359" h="5661025">
                <a:moveTo>
                  <a:pt x="1283599" y="365"/>
                </a:moveTo>
                <a:cubicBezTo>
                  <a:pt x="1313044" y="-828"/>
                  <a:pt x="1343073" y="890"/>
                  <a:pt x="1373350" y="5762"/>
                </a:cubicBezTo>
                <a:lnTo>
                  <a:pt x="6912359" y="911948"/>
                </a:lnTo>
                <a:lnTo>
                  <a:pt x="6912359" y="5661025"/>
                </a:lnTo>
                <a:lnTo>
                  <a:pt x="0" y="5661025"/>
                </a:lnTo>
                <a:lnTo>
                  <a:pt x="865238" y="370489"/>
                </a:lnTo>
                <a:cubicBezTo>
                  <a:pt x="899954" y="159761"/>
                  <a:pt x="1077489" y="8721"/>
                  <a:pt x="1283599" y="365"/>
                </a:cubicBezTo>
                <a:close/>
              </a:path>
            </a:pathLst>
          </a:custGeom>
          <a:solidFill>
            <a:schemeClr val="tx2"/>
          </a:solidFill>
          <a:ln w="6471" cap="flat">
            <a:noFill/>
            <a:prstDash val="solid"/>
            <a:miter/>
          </a:ln>
        </p:spPr>
        <p:txBody>
          <a:bodyPr rtlCol="0" anchor="ctr"/>
          <a:lstStyle/>
          <a:p>
            <a:endParaRPr lang="en-US"/>
          </a:p>
        </p:txBody>
      </p:sp>
      <p:sp>
        <p:nvSpPr>
          <p:cNvPr id="33" name="Picture Placeholder 32">
            <a:extLst>
              <a:ext uri="{FF2B5EF4-FFF2-40B4-BE49-F238E27FC236}">
                <a16:creationId xmlns:a16="http://schemas.microsoft.com/office/drawing/2014/main" id="{42D66AE2-0A96-D53C-5692-E34CF8C1ADBC}"/>
              </a:ext>
            </a:extLst>
          </p:cNvPr>
          <p:cNvSpPr>
            <a:spLocks noGrp="1"/>
          </p:cNvSpPr>
          <p:nvPr>
            <p:ph type="pic" sz="quarter" idx="17" hasCustomPrompt="1"/>
          </p:nvPr>
        </p:nvSpPr>
        <p:spPr>
          <a:xfrm>
            <a:off x="0" y="0"/>
            <a:ext cx="5864229" cy="6858000"/>
          </a:xfrm>
          <a:custGeom>
            <a:avLst/>
            <a:gdLst>
              <a:gd name="connsiteX0" fmla="*/ 0 w 5864229"/>
              <a:gd name="connsiteY0" fmla="*/ 0 h 6858000"/>
              <a:gd name="connsiteX1" fmla="*/ 5864229 w 5864229"/>
              <a:gd name="connsiteY1" fmla="*/ 0 h 6858000"/>
              <a:gd name="connsiteX2" fmla="*/ 4955615 w 5864229"/>
              <a:gd name="connsiteY2" fmla="*/ 5555766 h 6858000"/>
              <a:gd name="connsiteX3" fmla="*/ 4358275 w 5864229"/>
              <a:gd name="connsiteY3" fmla="*/ 5984541 h 6858000"/>
              <a:gd name="connsiteX4" fmla="*/ 1 w 5864229"/>
              <a:gd name="connsiteY4" fmla="*/ 5271525 h 6858000"/>
              <a:gd name="connsiteX5" fmla="*/ 1 w 5864229"/>
              <a:gd name="connsiteY5" fmla="*/ 6858000 h 6858000"/>
              <a:gd name="connsiteX6" fmla="*/ 0 w 58642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4229" h="6858000">
                <a:moveTo>
                  <a:pt x="0" y="0"/>
                </a:moveTo>
                <a:lnTo>
                  <a:pt x="5864229" y="0"/>
                </a:lnTo>
                <a:lnTo>
                  <a:pt x="4955615" y="5555766"/>
                </a:lnTo>
                <a:cubicBezTo>
                  <a:pt x="4910610" y="5841344"/>
                  <a:pt x="4641399" y="6031183"/>
                  <a:pt x="4358275" y="5984541"/>
                </a:cubicBezTo>
                <a:lnTo>
                  <a:pt x="1" y="5271525"/>
                </a:lnTo>
                <a:lnTo>
                  <a:pt x="1" y="6858000"/>
                </a:lnTo>
                <a:lnTo>
                  <a:pt x="0" y="6858000"/>
                </a:lnTo>
                <a:close/>
              </a:path>
            </a:pathLst>
          </a:custGeom>
          <a:solidFill>
            <a:schemeClr val="accent2"/>
          </a:solidFill>
        </p:spPr>
        <p:txBody>
          <a:bodyPr wrap="square" lIns="72000" bIns="936000" anchor="ctr" anchorCtr="0">
            <a:noAutofit/>
          </a:bodyPr>
          <a:lstStyle>
            <a:lvl1pPr marL="0" indent="0" algn="ctr">
              <a:buNone/>
              <a:defRPr sz="1400">
                <a:solidFill>
                  <a:schemeClr val="tx1"/>
                </a:solidFill>
              </a:defRPr>
            </a:lvl1pPr>
          </a:lstStyle>
          <a:p>
            <a:r>
              <a:rPr lang="en-US"/>
              <a:t>Click on the icon to add an image inside the placeholder.</a:t>
            </a:r>
          </a:p>
        </p:txBody>
      </p:sp>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6095999" y="2042314"/>
            <a:ext cx="5638799" cy="2100359"/>
          </a:xfrm>
        </p:spPr>
        <p:txBody>
          <a:bodyPr vert="horz" lIns="108000" anchor="b"/>
          <a:lstStyle>
            <a:lvl1pPr algn="l">
              <a:defRPr sz="4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6095999" y="4216820"/>
            <a:ext cx="5638802" cy="799226"/>
          </a:xfrm>
        </p:spPr>
        <p:txBody>
          <a:bodyPr lIns="108000"/>
          <a:lstStyle>
            <a:lvl1pPr marL="0" indent="0" algn="l">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6095999" y="5286732"/>
            <a:ext cx="5638800" cy="685800"/>
          </a:xfrm>
        </p:spPr>
        <p:txBody>
          <a:bodyPr lIns="108000" anchor="ctr" anchorCtr="0"/>
          <a:lstStyle>
            <a:lvl1pPr marL="0" indent="0">
              <a:buNone/>
              <a:defRPr sz="2000" b="1">
                <a:solidFill>
                  <a:srgbClr val="F99303"/>
                </a:solidFill>
              </a:defRPr>
            </a:lvl1pPr>
          </a:lstStyle>
          <a:p>
            <a:pPr lvl="0"/>
            <a:r>
              <a:rPr lang="en-US"/>
              <a:t>Date &amp; other information</a:t>
            </a:r>
          </a:p>
        </p:txBody>
      </p:sp>
      <p:graphicFrame>
        <p:nvGraphicFramePr>
          <p:cNvPr id="12" name="Object 11" hidden="1">
            <a:extLst>
              <a:ext uri="{FF2B5EF4-FFF2-40B4-BE49-F238E27FC236}">
                <a16:creationId xmlns:a16="http://schemas.microsoft.com/office/drawing/2014/main" id="{3C47C445-AA0A-4117-8E83-5A5294ED587C}"/>
              </a:ext>
            </a:extLst>
          </p:cNvPr>
          <p:cNvGraphicFramePr>
            <a:graphicFrameLocks noChangeAspect="1"/>
          </p:cNvGraphicFramePr>
          <p:nvPr userDrawn="1">
            <p:custDataLst>
              <p:tags r:id="rId3"/>
            </p:custDataLst>
            <p:extLst>
              <p:ext uri="{D42A27DB-BD31-4B8C-83A1-F6EECF244321}">
                <p14:modId xmlns:p14="http://schemas.microsoft.com/office/powerpoint/2010/main" val="3145915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2" name="Object 11" hidden="1">
                        <a:extLst>
                          <a:ext uri="{FF2B5EF4-FFF2-40B4-BE49-F238E27FC236}">
                            <a16:creationId xmlns:a16="http://schemas.microsoft.com/office/drawing/2014/main" id="{3C47C445-AA0A-4117-8E83-5A5294ED58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Picture 13" descr="A picture containing icon&#10;&#10;Description automatically generated">
            <a:extLst>
              <a:ext uri="{FF2B5EF4-FFF2-40B4-BE49-F238E27FC236}">
                <a16:creationId xmlns:a16="http://schemas.microsoft.com/office/drawing/2014/main" id="{33A09241-D0C5-CF4F-4045-265820744F9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4" name="Date Placeholder 3">
            <a:extLst>
              <a:ext uri="{FF2B5EF4-FFF2-40B4-BE49-F238E27FC236}">
                <a16:creationId xmlns:a16="http://schemas.microsoft.com/office/drawing/2014/main" id="{FE444F70-1DCF-91F6-072D-083F100EFF15}"/>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E89294FE-F307-9E03-75EB-1537B4C1B8B2}"/>
              </a:ext>
            </a:extLst>
          </p:cNvPr>
          <p:cNvSpPr>
            <a:spLocks noGrp="1"/>
          </p:cNvSpPr>
          <p:nvPr>
            <p:ph type="ftr" sz="quarter" idx="19"/>
          </p:nvPr>
        </p:nvSpPr>
        <p:spPr>
          <a:xfrm>
            <a:off x="6096000" y="6254713"/>
            <a:ext cx="5638798" cy="490253"/>
          </a:xfr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F78F02EA-AA64-6DD0-F345-4D531B084B49}"/>
              </a:ext>
            </a:extLst>
          </p:cNvPr>
          <p:cNvSpPr>
            <a:spLocks noGrp="1"/>
          </p:cNvSpPr>
          <p:nvPr>
            <p:ph type="sldNum" sz="quarter" idx="20"/>
          </p:nvPr>
        </p:nvSpPr>
        <p:spPr/>
        <p:txBody>
          <a:bodyPr/>
          <a:lstStyle>
            <a:lvl1pPr>
              <a:defRPr>
                <a:solidFill>
                  <a:schemeClr val="bg1"/>
                </a:solidFill>
              </a:defRPr>
            </a:lvl1p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415862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1"/>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71E96A6B-5B0D-F43D-8276-ADD5E8AE09D7}"/>
              </a:ext>
            </a:extLst>
          </p:cNvPr>
          <p:cNvSpPr/>
          <p:nvPr userDrawn="1"/>
        </p:nvSpPr>
        <p:spPr>
          <a:xfrm>
            <a:off x="0" y="0"/>
            <a:ext cx="12192001" cy="6858002"/>
          </a:xfrm>
          <a:custGeom>
            <a:avLst/>
            <a:gdLst>
              <a:gd name="connsiteX0" fmla="*/ 12192000 w 12192001"/>
              <a:gd name="connsiteY0" fmla="*/ 2752968 h 6858002"/>
              <a:gd name="connsiteX1" fmla="*/ 12192001 w 12192001"/>
              <a:gd name="connsiteY1" fmla="*/ 2752968 h 6858002"/>
              <a:gd name="connsiteX2" fmla="*/ 12192001 w 12192001"/>
              <a:gd name="connsiteY2" fmla="*/ 6858002 h 6858002"/>
              <a:gd name="connsiteX3" fmla="*/ 4930076 w 12192001"/>
              <a:gd name="connsiteY3" fmla="*/ 6858001 h 6858002"/>
              <a:gd name="connsiteX4" fmla="*/ 4930077 w 12192001"/>
              <a:gd name="connsiteY4" fmla="*/ 6858000 h 6858002"/>
              <a:gd name="connsiteX5" fmla="*/ 12192000 w 12192001"/>
              <a:gd name="connsiteY5" fmla="*/ 6858000 h 6858002"/>
              <a:gd name="connsiteX6" fmla="*/ 0 w 12192001"/>
              <a:gd name="connsiteY6" fmla="*/ 0 h 6858002"/>
              <a:gd name="connsiteX7" fmla="*/ 12192000 w 12192001"/>
              <a:gd name="connsiteY7" fmla="*/ 0 h 6858002"/>
              <a:gd name="connsiteX8" fmla="*/ 12192000 w 12192001"/>
              <a:gd name="connsiteY8" fmla="*/ 2752968 h 6858002"/>
              <a:gd name="connsiteX9" fmla="*/ 7533925 w 12192001"/>
              <a:gd name="connsiteY9" fmla="*/ 1231090 h 6858002"/>
              <a:gd name="connsiteX10" fmla="*/ 7390037 w 12192001"/>
              <a:gd name="connsiteY10" fmla="*/ 1199353 h 6858002"/>
              <a:gd name="connsiteX11" fmla="*/ 7264676 w 12192001"/>
              <a:gd name="connsiteY11" fmla="*/ 1195577 h 6858002"/>
              <a:gd name="connsiteX12" fmla="*/ 6616276 w 12192001"/>
              <a:gd name="connsiteY12" fmla="*/ 1696019 h 6858002"/>
              <a:gd name="connsiteX13" fmla="*/ 4930077 w 12192001"/>
              <a:gd name="connsiteY13" fmla="*/ 6858000 h 6858002"/>
              <a:gd name="connsiteX14" fmla="*/ 0 w 12192001"/>
              <a:gd name="connsiteY14" fmla="*/ 685800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6858002">
                <a:moveTo>
                  <a:pt x="12192000" y="2752968"/>
                </a:moveTo>
                <a:lnTo>
                  <a:pt x="12192001" y="2752968"/>
                </a:lnTo>
                <a:lnTo>
                  <a:pt x="12192001" y="6858002"/>
                </a:lnTo>
                <a:lnTo>
                  <a:pt x="4930076" y="6858001"/>
                </a:lnTo>
                <a:lnTo>
                  <a:pt x="4930077" y="6858000"/>
                </a:lnTo>
                <a:lnTo>
                  <a:pt x="12192000" y="6858000"/>
                </a:lnTo>
                <a:close/>
                <a:moveTo>
                  <a:pt x="0" y="0"/>
                </a:moveTo>
                <a:lnTo>
                  <a:pt x="12192000" y="0"/>
                </a:lnTo>
                <a:lnTo>
                  <a:pt x="12192000" y="2752968"/>
                </a:lnTo>
                <a:lnTo>
                  <a:pt x="7533925" y="1231090"/>
                </a:lnTo>
                <a:cubicBezTo>
                  <a:pt x="7486243" y="1215454"/>
                  <a:pt x="7438072" y="1204971"/>
                  <a:pt x="7390037" y="1199353"/>
                </a:cubicBezTo>
                <a:cubicBezTo>
                  <a:pt x="7348005" y="1194436"/>
                  <a:pt x="7306078" y="1193242"/>
                  <a:pt x="7264676" y="1195577"/>
                </a:cubicBezTo>
                <a:cubicBezTo>
                  <a:pt x="6974857" y="1211916"/>
                  <a:pt x="6710722" y="1401105"/>
                  <a:pt x="6616276" y="1696019"/>
                </a:cubicBezTo>
                <a:lnTo>
                  <a:pt x="4930077"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aphicFrame>
        <p:nvGraphicFramePr>
          <p:cNvPr id="13" name="Object 12" hidden="1">
            <a:extLst>
              <a:ext uri="{FF2B5EF4-FFF2-40B4-BE49-F238E27FC236}">
                <a16:creationId xmlns:a16="http://schemas.microsoft.com/office/drawing/2014/main" id="{50BBB068-ABD8-6FA3-2B10-341AE0C2AA06}"/>
              </a:ext>
            </a:extLst>
          </p:cNvPr>
          <p:cNvGraphicFramePr>
            <a:graphicFrameLocks noChangeAspect="1"/>
          </p:cNvGraphicFramePr>
          <p:nvPr>
            <p:custDataLst>
              <p:tags r:id="rId2"/>
            </p:custDataLst>
            <p:extLst>
              <p:ext uri="{D42A27DB-BD31-4B8C-83A1-F6EECF244321}">
                <p14:modId xmlns:p14="http://schemas.microsoft.com/office/powerpoint/2010/main" val="404980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3" name="Object 12" hidden="1">
                        <a:extLst>
                          <a:ext uri="{FF2B5EF4-FFF2-40B4-BE49-F238E27FC236}">
                            <a16:creationId xmlns:a16="http://schemas.microsoft.com/office/drawing/2014/main" id="{50BBB068-ABD8-6FA3-2B10-341AE0C2AA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icon&#10;&#10;Description automatically generated">
            <a:extLst>
              <a:ext uri="{FF2B5EF4-FFF2-40B4-BE49-F238E27FC236}">
                <a16:creationId xmlns:a16="http://schemas.microsoft.com/office/drawing/2014/main" id="{CCF9361D-D7A2-112B-1204-8239B9A21DE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id="{FD3BC451-F935-D134-7E64-8FFC7AFB05CB}"/>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906000" y="451634"/>
            <a:ext cx="1828800" cy="745340"/>
          </a:xfrm>
          <a:prstGeom prst="rect">
            <a:avLst/>
          </a:prstGeom>
        </p:spPr>
      </p:pic>
      <p:sp>
        <p:nvSpPr>
          <p:cNvPr id="2" name="Title 1">
            <a:extLst>
              <a:ext uri="{FF2B5EF4-FFF2-40B4-BE49-F238E27FC236}">
                <a16:creationId xmlns:a16="http://schemas.microsoft.com/office/drawing/2014/main" id="{457CBF33-48B4-A8F6-359B-B0F36CB027A5}"/>
              </a:ext>
            </a:extLst>
          </p:cNvPr>
          <p:cNvSpPr>
            <a:spLocks noGrp="1"/>
          </p:cNvSpPr>
          <p:nvPr>
            <p:ph type="ctrTitle"/>
          </p:nvPr>
        </p:nvSpPr>
        <p:spPr>
          <a:xfrm>
            <a:off x="467755" y="471831"/>
            <a:ext cx="5659917" cy="2100359"/>
          </a:xfrm>
        </p:spPr>
        <p:txBody>
          <a:bodyPr vert="horz" anchor="b"/>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54A9ACD1-947C-4891-6344-5049B8DEC655}"/>
              </a:ext>
            </a:extLst>
          </p:cNvPr>
          <p:cNvSpPr>
            <a:spLocks noGrp="1"/>
          </p:cNvSpPr>
          <p:nvPr>
            <p:ph type="subTitle" idx="1"/>
          </p:nvPr>
        </p:nvSpPr>
        <p:spPr>
          <a:xfrm>
            <a:off x="467755" y="2605114"/>
            <a:ext cx="5638800" cy="707875"/>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6" name="Text Placeholder 35">
            <a:extLst>
              <a:ext uri="{FF2B5EF4-FFF2-40B4-BE49-F238E27FC236}">
                <a16:creationId xmlns:a16="http://schemas.microsoft.com/office/drawing/2014/main" id="{D08B5EFD-53C4-4EB9-28F8-C98C9F7256AA}"/>
              </a:ext>
            </a:extLst>
          </p:cNvPr>
          <p:cNvSpPr>
            <a:spLocks noGrp="1"/>
          </p:cNvSpPr>
          <p:nvPr>
            <p:ph type="body" sz="quarter" idx="15" hasCustomPrompt="1"/>
          </p:nvPr>
        </p:nvSpPr>
        <p:spPr>
          <a:xfrm>
            <a:off x="467755" y="3345913"/>
            <a:ext cx="5638800" cy="685800"/>
          </a:xfrm>
        </p:spPr>
        <p:txBody>
          <a:bodyPr anchor="ctr" anchorCtr="0"/>
          <a:lstStyle>
            <a:lvl1pPr marL="0" indent="0">
              <a:buNone/>
              <a:defRPr sz="2000" b="1">
                <a:solidFill>
                  <a:schemeClr val="accent1"/>
                </a:solidFill>
              </a:defRPr>
            </a:lvl1pPr>
          </a:lstStyle>
          <a:p>
            <a:pPr lvl="0"/>
            <a:r>
              <a:rPr lang="en-US"/>
              <a:t>Date &amp; other information</a:t>
            </a:r>
          </a:p>
        </p:txBody>
      </p:sp>
      <p:sp>
        <p:nvSpPr>
          <p:cNvPr id="20" name="Picture Placeholder 19">
            <a:extLst>
              <a:ext uri="{FF2B5EF4-FFF2-40B4-BE49-F238E27FC236}">
                <a16:creationId xmlns:a16="http://schemas.microsoft.com/office/drawing/2014/main" id="{20DA6A39-1C0B-7809-7D89-5B99932EBBAE}"/>
              </a:ext>
            </a:extLst>
          </p:cNvPr>
          <p:cNvSpPr>
            <a:spLocks noGrp="1"/>
          </p:cNvSpPr>
          <p:nvPr>
            <p:ph type="pic" sz="quarter" idx="16" hasCustomPrompt="1"/>
          </p:nvPr>
        </p:nvSpPr>
        <p:spPr>
          <a:xfrm>
            <a:off x="5739096" y="1135033"/>
            <a:ext cx="7367200" cy="5722968"/>
          </a:xfrm>
          <a:custGeom>
            <a:avLst/>
            <a:gdLst>
              <a:gd name="connsiteX0" fmla="*/ 1827326 w 7367200"/>
              <a:gd name="connsiteY0" fmla="*/ 587241 h 5722968"/>
              <a:gd name="connsiteX1" fmla="*/ 1954927 w 7367200"/>
              <a:gd name="connsiteY1" fmla="*/ 606483 h 5722968"/>
              <a:gd name="connsiteX2" fmla="*/ 6452904 w 7367200"/>
              <a:gd name="connsiteY2" fmla="*/ 1747180 h 5722968"/>
              <a:gd name="connsiteX3" fmla="*/ 6452904 w 7367200"/>
              <a:gd name="connsiteY3" fmla="*/ 5722968 h 5722968"/>
              <a:gd name="connsiteX4" fmla="*/ 0 w 7367200"/>
              <a:gd name="connsiteY4" fmla="*/ 5722967 h 5722968"/>
              <a:gd name="connsiteX5" fmla="*/ 1180524 w 7367200"/>
              <a:gd name="connsiteY5" fmla="*/ 1066875 h 5722968"/>
              <a:gd name="connsiteX6" fmla="*/ 1827326 w 7367200"/>
              <a:gd name="connsiteY6" fmla="*/ 587241 h 5722968"/>
              <a:gd name="connsiteX7" fmla="*/ 7367199 w 7367200"/>
              <a:gd name="connsiteY7" fmla="*/ 0 h 5722968"/>
              <a:gd name="connsiteX8" fmla="*/ 7367200 w 7367200"/>
              <a:gd name="connsiteY8" fmla="*/ 0 h 5722968"/>
              <a:gd name="connsiteX9" fmla="*/ 7361847 w 7367200"/>
              <a:gd name="connsiteY9" fmla="*/ 61941 h 5722968"/>
              <a:gd name="connsiteX10" fmla="*/ 7361846 w 7367200"/>
              <a:gd name="connsiteY10" fmla="*/ 61941 h 5722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67200" h="5722968">
                <a:moveTo>
                  <a:pt x="1827326" y="587241"/>
                </a:moveTo>
                <a:cubicBezTo>
                  <a:pt x="1869630" y="589316"/>
                  <a:pt x="1912341" y="595633"/>
                  <a:pt x="1954927" y="606483"/>
                </a:cubicBezTo>
                <a:lnTo>
                  <a:pt x="6452904" y="1747180"/>
                </a:lnTo>
                <a:lnTo>
                  <a:pt x="6452904" y="5722968"/>
                </a:lnTo>
                <a:lnTo>
                  <a:pt x="0" y="5722967"/>
                </a:lnTo>
                <a:lnTo>
                  <a:pt x="1180524" y="1066875"/>
                </a:lnTo>
                <a:cubicBezTo>
                  <a:pt x="1254954" y="766000"/>
                  <a:pt x="1531192" y="572711"/>
                  <a:pt x="1827326" y="587241"/>
                </a:cubicBezTo>
                <a:close/>
                <a:moveTo>
                  <a:pt x="7367199" y="0"/>
                </a:moveTo>
                <a:lnTo>
                  <a:pt x="7367200" y="0"/>
                </a:lnTo>
                <a:lnTo>
                  <a:pt x="7361847" y="61941"/>
                </a:lnTo>
                <a:lnTo>
                  <a:pt x="7361846" y="61941"/>
                </a:lnTo>
                <a:close/>
              </a:path>
            </a:pathLst>
          </a:custGeom>
          <a:solidFill>
            <a:schemeClr val="bg2"/>
          </a:solidFill>
        </p:spPr>
        <p:txBody>
          <a:bodyPr wrap="square" lIns="72000" tIns="1188000" anchor="ctr" anchorCtr="0">
            <a:noAutofit/>
          </a:bodyPr>
          <a:lstStyle>
            <a:lvl1pPr marL="0" indent="0" algn="ctr">
              <a:buNone/>
              <a:defRPr/>
            </a:lvl1pPr>
          </a:lstStyle>
          <a:p>
            <a:r>
              <a:rPr lang="en-GB"/>
              <a:t>Click on the icon to add a picture in the placeholder</a:t>
            </a:r>
          </a:p>
        </p:txBody>
      </p:sp>
      <p:sp>
        <p:nvSpPr>
          <p:cNvPr id="4" name="Date Placeholder 3">
            <a:extLst>
              <a:ext uri="{FF2B5EF4-FFF2-40B4-BE49-F238E27FC236}">
                <a16:creationId xmlns:a16="http://schemas.microsoft.com/office/drawing/2014/main" id="{4987DFA5-8439-0B30-5F93-147E40F8460A}"/>
              </a:ext>
            </a:extLst>
          </p:cNvPr>
          <p:cNvSpPr>
            <a:spLocks noGrp="1"/>
          </p:cNvSpPr>
          <p:nvPr>
            <p:ph type="dt" sz="half" idx="17"/>
          </p:nvPr>
        </p:nvSpPr>
        <p:spPr/>
        <p:txBody>
          <a:body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A7F1168C-C30F-C805-DAF9-28A2829E8B23}"/>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87DB45AD-838C-0944-121D-2E4465A4C28C}"/>
              </a:ext>
            </a:extLst>
          </p:cNvPr>
          <p:cNvSpPr>
            <a:spLocks noGrp="1"/>
          </p:cNvSpPr>
          <p:nvPr>
            <p:ph type="sldNum" sz="quarter" idx="19"/>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52422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Slide 1">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9E9F200-E951-F93B-18AF-C4C58607361F}"/>
              </a:ext>
            </a:extLst>
          </p:cNvPr>
          <p:cNvGraphicFramePr>
            <a:graphicFrameLocks noChangeAspect="1"/>
          </p:cNvGraphicFramePr>
          <p:nvPr>
            <p:custDataLst>
              <p:tags r:id="rId2"/>
            </p:custDataLst>
            <p:extLst>
              <p:ext uri="{D42A27DB-BD31-4B8C-83A1-F6EECF244321}">
                <p14:modId xmlns:p14="http://schemas.microsoft.com/office/powerpoint/2010/main" val="1451674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2" name="Object 11" hidden="1">
                        <a:extLst>
                          <a:ext uri="{FF2B5EF4-FFF2-40B4-BE49-F238E27FC236}">
                            <a16:creationId xmlns:a16="http://schemas.microsoft.com/office/drawing/2014/main" id="{99E9F200-E951-F93B-18AF-C4C5860736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5222240" y="2066397"/>
            <a:ext cx="6512559" cy="936624"/>
          </a:xfrm>
          <a:solidFill>
            <a:schemeClr val="accent1"/>
          </a:solidFill>
          <a:effectLst>
            <a:outerShdw blurRad="127000" sx="102000" sy="102000" algn="ctr" rotWithShape="0">
              <a:prstClr val="black">
                <a:alpha val="5000"/>
              </a:prstClr>
            </a:outerShdw>
          </a:effectLst>
        </p:spPr>
        <p:txBody>
          <a:bodyPr lIns="900000" rIns="180000" anchor="ctr" anchorCtr="0"/>
          <a:lstStyle>
            <a:lvl1pPr marL="0" indent="0">
              <a:spcBef>
                <a:spcPts val="0"/>
              </a:spcBef>
              <a:buFont typeface="Arial" panose="020B0604020202020204" pitchFamily="34" charset="0"/>
              <a:buNone/>
              <a:defRPr sz="2200">
                <a:solidFill>
                  <a:schemeClr val="bg1"/>
                </a:solidFill>
              </a:defRPr>
            </a:lvl1pPr>
            <a:lvl2pPr>
              <a:defRPr sz="1600"/>
            </a:lvl2pPr>
            <a:lvl3pPr>
              <a:defRPr sz="1600"/>
            </a:lvl3pPr>
            <a:lvl4pPr>
              <a:defRPr sz="1600"/>
            </a:lvl4pPr>
            <a:lvl5pPr>
              <a:defRPr sz="1600"/>
            </a:lvl5pPr>
          </a:lstStyle>
          <a:p>
            <a:pPr lvl="0"/>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5222240" y="3332693"/>
            <a:ext cx="6512559"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5222240" y="4598989"/>
            <a:ext cx="6512559"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5222240" y="800100"/>
            <a:ext cx="6512559"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spcBef>
                <a:spcPts val="0"/>
              </a:spcBef>
              <a:buNone/>
              <a:defRPr lang="en-US" sz="2200" dirty="0">
                <a:solidFill>
                  <a:schemeClr val="bg1"/>
                </a:solidFill>
              </a:defRPr>
            </a:lvl1pPr>
          </a:lstStyle>
          <a:p>
            <a:pPr marL="228600" lvl="0" indent="-228600"/>
            <a:r>
              <a:rPr lang="en-US"/>
              <a:t>Agenda content here. </a:t>
            </a:r>
          </a:p>
        </p:txBody>
      </p:sp>
      <p:sp>
        <p:nvSpPr>
          <p:cNvPr id="2" name="Title 1">
            <a:extLst>
              <a:ext uri="{FF2B5EF4-FFF2-40B4-BE49-F238E27FC236}">
                <a16:creationId xmlns:a16="http://schemas.microsoft.com/office/drawing/2014/main" id="{ECDF667E-1E73-A29A-320D-A51DAB57DF57}"/>
              </a:ext>
            </a:extLst>
          </p:cNvPr>
          <p:cNvSpPr>
            <a:spLocks noGrp="1"/>
          </p:cNvSpPr>
          <p:nvPr>
            <p:ph type="title" hasCustomPrompt="1"/>
          </p:nvPr>
        </p:nvSpPr>
        <p:spPr>
          <a:xfrm>
            <a:off x="457200" y="3100080"/>
            <a:ext cx="3759200" cy="657840"/>
          </a:xfrm>
        </p:spPr>
        <p:txBody>
          <a:bodyPr vert="horz" lIns="72000"/>
          <a:lstStyle>
            <a:lvl1pPr algn="l">
              <a:defRPr sz="4000">
                <a:solidFill>
                  <a:schemeClr val="tx2"/>
                </a:solidFill>
              </a:defRPr>
            </a:lvl1pPr>
          </a:lstStyle>
          <a:p>
            <a:r>
              <a:rPr lang="en-US"/>
              <a:t>Agenda here</a:t>
            </a:r>
          </a:p>
        </p:txBody>
      </p:sp>
      <p:sp>
        <p:nvSpPr>
          <p:cNvPr id="24" name="Text Placeholder 23">
            <a:extLst>
              <a:ext uri="{FF2B5EF4-FFF2-40B4-BE49-F238E27FC236}">
                <a16:creationId xmlns:a16="http://schemas.microsoft.com/office/drawing/2014/main" id="{26C12071-CB86-10BF-4A15-FB939514406C}"/>
              </a:ext>
            </a:extLst>
          </p:cNvPr>
          <p:cNvSpPr>
            <a:spLocks noGrp="1"/>
          </p:cNvSpPr>
          <p:nvPr>
            <p:ph type="body" sz="quarter" idx="18" hasCustomPrompt="1"/>
          </p:nvPr>
        </p:nvSpPr>
        <p:spPr>
          <a:xfrm>
            <a:off x="4753351" y="800100"/>
            <a:ext cx="936000" cy="936624"/>
          </a:xfrm>
          <a:prstGeom prst="ellipse">
            <a:avLst/>
          </a:prstGeom>
          <a:solidFill>
            <a:schemeClr val="bg1"/>
          </a:solidFill>
          <a:effectLst>
            <a:outerShdw blurRad="127000" dist="38100" algn="l" rotWithShape="0">
              <a:prstClr val="black">
                <a:alpha val="15000"/>
              </a:prstClr>
            </a:outerShdw>
          </a:effectLst>
        </p:spPr>
        <p:txBody>
          <a:bodyPr lIns="72000" anchor="ctr" anchorCtr="0"/>
          <a:lstStyle>
            <a:lvl1pPr marL="0" indent="0" algn="ctr">
              <a:buFont typeface="Arial" panose="020B0604020202020204" pitchFamily="34" charset="0"/>
              <a:buNone/>
              <a:defRPr sz="3600" b="1">
                <a:solidFill>
                  <a:schemeClr val="tx2"/>
                </a:solidFill>
              </a:defRPr>
            </a:lvl1pPr>
          </a:lstStyle>
          <a:p>
            <a:pPr lvl="0"/>
            <a:r>
              <a:rPr lang="en-US"/>
              <a:t>#</a:t>
            </a:r>
          </a:p>
        </p:txBody>
      </p:sp>
      <p:sp>
        <p:nvSpPr>
          <p:cNvPr id="25" name="Text Placeholder 23">
            <a:extLst>
              <a:ext uri="{FF2B5EF4-FFF2-40B4-BE49-F238E27FC236}">
                <a16:creationId xmlns:a16="http://schemas.microsoft.com/office/drawing/2014/main" id="{AD1B58EF-DF05-BACD-224F-374CA161B049}"/>
              </a:ext>
            </a:extLst>
          </p:cNvPr>
          <p:cNvSpPr>
            <a:spLocks noGrp="1"/>
          </p:cNvSpPr>
          <p:nvPr>
            <p:ph type="body" sz="quarter" idx="19" hasCustomPrompt="1"/>
          </p:nvPr>
        </p:nvSpPr>
        <p:spPr>
          <a:xfrm>
            <a:off x="4753351" y="2066397"/>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1"/>
                </a:solidFill>
              </a:defRPr>
            </a:lvl1pPr>
          </a:lstStyle>
          <a:p>
            <a:pPr marL="228600" lvl="0" indent="-228600" algn="ctr"/>
            <a:r>
              <a:rPr lang="en-US"/>
              <a:t>#</a:t>
            </a:r>
          </a:p>
        </p:txBody>
      </p:sp>
      <p:sp>
        <p:nvSpPr>
          <p:cNvPr id="26" name="Text Placeholder 23">
            <a:extLst>
              <a:ext uri="{FF2B5EF4-FFF2-40B4-BE49-F238E27FC236}">
                <a16:creationId xmlns:a16="http://schemas.microsoft.com/office/drawing/2014/main" id="{E8DCB086-E8F1-927F-ECF6-6E22526C91FB}"/>
              </a:ext>
            </a:extLst>
          </p:cNvPr>
          <p:cNvSpPr>
            <a:spLocks noGrp="1"/>
          </p:cNvSpPr>
          <p:nvPr>
            <p:ph type="body" sz="quarter" idx="20" hasCustomPrompt="1"/>
          </p:nvPr>
        </p:nvSpPr>
        <p:spPr>
          <a:xfrm>
            <a:off x="4753351" y="3332693"/>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dirty="0">
                <a:solidFill>
                  <a:schemeClr val="accent3"/>
                </a:solidFill>
              </a:defRPr>
            </a:lvl1pPr>
          </a:lstStyle>
          <a:p>
            <a:pPr marL="228600" lvl="0" indent="-228600" algn="ctr"/>
            <a:r>
              <a:rPr lang="en-US"/>
              <a:t>#</a:t>
            </a:r>
          </a:p>
        </p:txBody>
      </p:sp>
      <p:sp>
        <p:nvSpPr>
          <p:cNvPr id="27" name="Text Placeholder 23">
            <a:extLst>
              <a:ext uri="{FF2B5EF4-FFF2-40B4-BE49-F238E27FC236}">
                <a16:creationId xmlns:a16="http://schemas.microsoft.com/office/drawing/2014/main" id="{4A032871-3690-A37B-0AF5-3492F0B82E9F}"/>
              </a:ext>
            </a:extLst>
          </p:cNvPr>
          <p:cNvSpPr>
            <a:spLocks noGrp="1"/>
          </p:cNvSpPr>
          <p:nvPr>
            <p:ph type="body" sz="quarter" idx="21" hasCustomPrompt="1"/>
          </p:nvPr>
        </p:nvSpPr>
        <p:spPr>
          <a:xfrm>
            <a:off x="4753351" y="4598989"/>
            <a:ext cx="936000" cy="936624"/>
          </a:xfrm>
          <a:prstGeom prst="ellipse">
            <a:avLst/>
          </a:prstGeom>
          <a:solidFill>
            <a:schemeClr val="bg1"/>
          </a:solidFill>
          <a:effectLst>
            <a:outerShdw blurRad="127000" dist="38100" algn="l" rotWithShape="0">
              <a:prstClr val="black">
                <a:alpha val="15000"/>
              </a:prstClr>
            </a:outerShdw>
          </a:effectLst>
        </p:spPr>
        <p:txBody>
          <a:bodyPr vert="horz" lIns="72000" tIns="72000" rIns="72000" bIns="72000" rtlCol="0" anchor="ctr" anchorCtr="0">
            <a:noAutofit/>
          </a:bodyPr>
          <a:lstStyle>
            <a:lvl1pPr marL="0" indent="0" algn="ctr">
              <a:buNone/>
              <a:defRPr lang="en-US" sz="3600" b="1">
                <a:solidFill>
                  <a:schemeClr val="accent4"/>
                </a:solidFill>
              </a:defRPr>
            </a:lvl1pPr>
          </a:lstStyle>
          <a:p>
            <a:pPr marL="228600" lvl="0" indent="-228600" algn="ctr"/>
            <a:r>
              <a:rPr lang="en-US"/>
              <a:t>#</a:t>
            </a:r>
          </a:p>
        </p:txBody>
      </p:sp>
      <p:grpSp>
        <p:nvGrpSpPr>
          <p:cNvPr id="5" name="Group 4">
            <a:extLst>
              <a:ext uri="{FF2B5EF4-FFF2-40B4-BE49-F238E27FC236}">
                <a16:creationId xmlns:a16="http://schemas.microsoft.com/office/drawing/2014/main" id="{48A85925-CEF4-D3EF-7365-34B8DF9DA999}"/>
              </a:ext>
            </a:extLst>
          </p:cNvPr>
          <p:cNvGrpSpPr/>
          <p:nvPr/>
        </p:nvGrpSpPr>
        <p:grpSpPr>
          <a:xfrm>
            <a:off x="-36619" y="0"/>
            <a:ext cx="2178474" cy="2517520"/>
            <a:chOff x="-36619" y="0"/>
            <a:chExt cx="2178474" cy="2517520"/>
          </a:xfrm>
          <a:solidFill>
            <a:schemeClr val="accent2">
              <a:alpha val="30000"/>
            </a:schemeClr>
          </a:solidFill>
        </p:grpSpPr>
        <p:sp>
          <p:nvSpPr>
            <p:cNvPr id="38" name="Freeform: Shape 37">
              <a:extLst>
                <a:ext uri="{FF2B5EF4-FFF2-40B4-BE49-F238E27FC236}">
                  <a16:creationId xmlns:a16="http://schemas.microsoft.com/office/drawing/2014/main" id="{81986BFC-7187-470F-540E-57556FD977BE}"/>
                </a:ext>
              </a:extLst>
            </p:cNvPr>
            <p:cNvSpPr/>
            <p:nvPr/>
          </p:nvSpPr>
          <p:spPr>
            <a:xfrm rot="18900000" flipV="1">
              <a:off x="-36619" y="888341"/>
              <a:ext cx="2178474" cy="1201042"/>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54B9386E-8A6A-0F6C-D728-A18158271702}"/>
                </a:ext>
              </a:extLst>
            </p:cNvPr>
            <p:cNvSpPr/>
            <p:nvPr/>
          </p:nvSpPr>
          <p:spPr>
            <a:xfrm rot="5400000">
              <a:off x="699653" y="175318"/>
              <a:ext cx="1551677" cy="1201042"/>
            </a:xfrm>
            <a:custGeom>
              <a:avLst/>
              <a:gdLst>
                <a:gd name="connsiteX0" fmla="*/ 462438 w 1551677"/>
                <a:gd name="connsiteY0" fmla="*/ 268059 h 1201042"/>
                <a:gd name="connsiteX1" fmla="*/ 462441 w 1551677"/>
                <a:gd name="connsiteY1" fmla="*/ 268061 h 1201042"/>
                <a:gd name="connsiteX2" fmla="*/ 462442 w 1551677"/>
                <a:gd name="connsiteY2" fmla="*/ 268059 h 1201042"/>
                <a:gd name="connsiteX3" fmla="*/ 462441 w 1551677"/>
                <a:gd name="connsiteY3" fmla="*/ 268058 h 1201042"/>
                <a:gd name="connsiteX4" fmla="*/ 0 w 1551677"/>
                <a:gd name="connsiteY4" fmla="*/ 879537 h 1201042"/>
                <a:gd name="connsiteX5" fmla="*/ 0 w 1551677"/>
                <a:gd name="connsiteY5" fmla="*/ 20344 h 1201042"/>
                <a:gd name="connsiteX6" fmla="*/ 25856 w 1551677"/>
                <a:gd name="connsiteY6" fmla="*/ 46200 h 1201042"/>
                <a:gd name="connsiteX7" fmla="*/ 331673 w 1551677"/>
                <a:gd name="connsiteY7" fmla="*/ 208904 h 1201042"/>
                <a:gd name="connsiteX8" fmla="*/ 410875 w 1551677"/>
                <a:gd name="connsiteY8" fmla="*/ 216495 h 1201042"/>
                <a:gd name="connsiteX9" fmla="*/ 459968 w 1551677"/>
                <a:gd name="connsiteY9" fmla="*/ 265589 h 1201042"/>
                <a:gd name="connsiteX10" fmla="*/ 459968 w 1551677"/>
                <a:gd name="connsiteY10" fmla="*/ 265585 h 1201042"/>
                <a:gd name="connsiteX11" fmla="*/ 410875 w 1551677"/>
                <a:gd name="connsiteY11" fmla="*/ 216492 h 1201042"/>
                <a:gd name="connsiteX12" fmla="*/ 444845 w 1551677"/>
                <a:gd name="connsiteY12" fmla="*/ 219749 h 1201042"/>
                <a:gd name="connsiteX13" fmla="*/ 459968 w 1551677"/>
                <a:gd name="connsiteY13" fmla="*/ 218300 h 1201042"/>
                <a:gd name="connsiteX14" fmla="*/ 459968 w 1551677"/>
                <a:gd name="connsiteY14" fmla="*/ 217826 h 1201042"/>
                <a:gd name="connsiteX15" fmla="*/ 462441 w 1551677"/>
                <a:gd name="connsiteY15" fmla="*/ 218063 h 1201042"/>
                <a:gd name="connsiteX16" fmla="*/ 464912 w 1551677"/>
                <a:gd name="connsiteY16" fmla="*/ 217826 h 1201042"/>
                <a:gd name="connsiteX17" fmla="*/ 464912 w 1551677"/>
                <a:gd name="connsiteY17" fmla="*/ 218300 h 1201042"/>
                <a:gd name="connsiteX18" fmla="*/ 480035 w 1551677"/>
                <a:gd name="connsiteY18" fmla="*/ 219749 h 1201042"/>
                <a:gd name="connsiteX19" fmla="*/ 514005 w 1551677"/>
                <a:gd name="connsiteY19" fmla="*/ 216492 h 1201042"/>
                <a:gd name="connsiteX20" fmla="*/ 464912 w 1551677"/>
                <a:gd name="connsiteY20" fmla="*/ 265585 h 1201042"/>
                <a:gd name="connsiteX21" fmla="*/ 464912 w 1551677"/>
                <a:gd name="connsiteY21" fmla="*/ 265589 h 1201042"/>
                <a:gd name="connsiteX22" fmla="*/ 514005 w 1551677"/>
                <a:gd name="connsiteY22" fmla="*/ 216495 h 1201042"/>
                <a:gd name="connsiteX23" fmla="*/ 593207 w 1551677"/>
                <a:gd name="connsiteY23" fmla="*/ 208904 h 1201042"/>
                <a:gd name="connsiteX24" fmla="*/ 899024 w 1551677"/>
                <a:gd name="connsiteY24" fmla="*/ 46200 h 1201042"/>
                <a:gd name="connsiteX25" fmla="*/ 937352 w 1551677"/>
                <a:gd name="connsiteY25" fmla="*/ 7872 h 1201042"/>
                <a:gd name="connsiteX26" fmla="*/ 943777 w 1551677"/>
                <a:gd name="connsiteY26" fmla="*/ 7256 h 1201042"/>
                <a:gd name="connsiteX27" fmla="*/ 943777 w 1551677"/>
                <a:gd name="connsiteY27" fmla="*/ 7253 h 1201042"/>
                <a:gd name="connsiteX28" fmla="*/ 1019458 w 1551677"/>
                <a:gd name="connsiteY28" fmla="*/ 0 h 1201042"/>
                <a:gd name="connsiteX29" fmla="*/ 1512743 w 1551677"/>
                <a:gd name="connsiteY29" fmla="*/ 204326 h 1201042"/>
                <a:gd name="connsiteX30" fmla="*/ 1551677 w 1551677"/>
                <a:gd name="connsiteY30" fmla="*/ 243260 h 1201042"/>
                <a:gd name="connsiteX31" fmla="*/ 1551677 w 1551677"/>
                <a:gd name="connsiteY31" fmla="*/ 252736 h 1201042"/>
                <a:gd name="connsiteX32" fmla="*/ 943778 w 1551677"/>
                <a:gd name="connsiteY32" fmla="*/ 860636 h 1201042"/>
                <a:gd name="connsiteX33" fmla="*/ 943778 w 1551677"/>
                <a:gd name="connsiteY33" fmla="*/ 860639 h 1201042"/>
                <a:gd name="connsiteX34" fmla="*/ 690769 w 1551677"/>
                <a:gd name="connsiteY34" fmla="*/ 1113648 h 1201042"/>
                <a:gd name="connsiteX35" fmla="*/ 479781 w 1551677"/>
                <a:gd name="connsiteY35" fmla="*/ 1201042 h 1201042"/>
                <a:gd name="connsiteX36" fmla="*/ 462441 w 1551677"/>
                <a:gd name="connsiteY36" fmla="*/ 1199380 h 1201042"/>
                <a:gd name="connsiteX37" fmla="*/ 445099 w 1551677"/>
                <a:gd name="connsiteY37" fmla="*/ 1201042 h 1201042"/>
                <a:gd name="connsiteX38" fmla="*/ 234111 w 1551677"/>
                <a:gd name="connsiteY38" fmla="*/ 1113648 h 120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1677" h="1201042">
                  <a:moveTo>
                    <a:pt x="462438" y="268059"/>
                  </a:moveTo>
                  <a:lnTo>
                    <a:pt x="462441" y="268061"/>
                  </a:lnTo>
                  <a:lnTo>
                    <a:pt x="462442" y="268059"/>
                  </a:lnTo>
                  <a:lnTo>
                    <a:pt x="462441" y="268058"/>
                  </a:lnTo>
                  <a:close/>
                  <a:moveTo>
                    <a:pt x="0" y="879537"/>
                  </a:moveTo>
                  <a:lnTo>
                    <a:pt x="0" y="20344"/>
                  </a:lnTo>
                  <a:lnTo>
                    <a:pt x="25856" y="46200"/>
                  </a:lnTo>
                  <a:cubicBezTo>
                    <a:pt x="112631" y="132975"/>
                    <a:pt x="219625" y="187209"/>
                    <a:pt x="331673" y="208904"/>
                  </a:cubicBezTo>
                  <a:lnTo>
                    <a:pt x="410875" y="216495"/>
                  </a:lnTo>
                  <a:lnTo>
                    <a:pt x="459968" y="265589"/>
                  </a:lnTo>
                  <a:lnTo>
                    <a:pt x="459968" y="265585"/>
                  </a:lnTo>
                  <a:lnTo>
                    <a:pt x="410875" y="216492"/>
                  </a:lnTo>
                  <a:lnTo>
                    <a:pt x="444845" y="219749"/>
                  </a:lnTo>
                  <a:lnTo>
                    <a:pt x="459968" y="218300"/>
                  </a:lnTo>
                  <a:lnTo>
                    <a:pt x="459968" y="217826"/>
                  </a:lnTo>
                  <a:lnTo>
                    <a:pt x="462441" y="218063"/>
                  </a:lnTo>
                  <a:lnTo>
                    <a:pt x="464912" y="217826"/>
                  </a:lnTo>
                  <a:lnTo>
                    <a:pt x="464912" y="218300"/>
                  </a:lnTo>
                  <a:lnTo>
                    <a:pt x="480035" y="219749"/>
                  </a:lnTo>
                  <a:lnTo>
                    <a:pt x="514005" y="216492"/>
                  </a:lnTo>
                  <a:lnTo>
                    <a:pt x="464912" y="265585"/>
                  </a:lnTo>
                  <a:lnTo>
                    <a:pt x="464912" y="265589"/>
                  </a:lnTo>
                  <a:lnTo>
                    <a:pt x="514005" y="216495"/>
                  </a:lnTo>
                  <a:lnTo>
                    <a:pt x="593207" y="208904"/>
                  </a:lnTo>
                  <a:cubicBezTo>
                    <a:pt x="705255" y="187209"/>
                    <a:pt x="812249" y="132975"/>
                    <a:pt x="899024" y="46200"/>
                  </a:cubicBezTo>
                  <a:lnTo>
                    <a:pt x="937352" y="7872"/>
                  </a:lnTo>
                  <a:lnTo>
                    <a:pt x="943777" y="7256"/>
                  </a:lnTo>
                  <a:lnTo>
                    <a:pt x="943777" y="7253"/>
                  </a:lnTo>
                  <a:lnTo>
                    <a:pt x="1019458" y="0"/>
                  </a:lnTo>
                  <a:cubicBezTo>
                    <a:pt x="1197992" y="0"/>
                    <a:pt x="1376526" y="68108"/>
                    <a:pt x="1512743" y="204326"/>
                  </a:cubicBezTo>
                  <a:lnTo>
                    <a:pt x="1551677" y="243260"/>
                  </a:lnTo>
                  <a:lnTo>
                    <a:pt x="1551677" y="252736"/>
                  </a:lnTo>
                  <a:lnTo>
                    <a:pt x="943778" y="860636"/>
                  </a:lnTo>
                  <a:lnTo>
                    <a:pt x="943778" y="860639"/>
                  </a:lnTo>
                  <a:lnTo>
                    <a:pt x="690769" y="1113648"/>
                  </a:lnTo>
                  <a:cubicBezTo>
                    <a:pt x="632507" y="1171911"/>
                    <a:pt x="556144" y="1201042"/>
                    <a:pt x="479781" y="1201042"/>
                  </a:cubicBezTo>
                  <a:lnTo>
                    <a:pt x="462441" y="1199380"/>
                  </a:lnTo>
                  <a:lnTo>
                    <a:pt x="445099" y="1201042"/>
                  </a:lnTo>
                  <a:cubicBezTo>
                    <a:pt x="368736" y="1201042"/>
                    <a:pt x="292373" y="1171911"/>
                    <a:pt x="234111" y="1113648"/>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6" name="Freeform: Shape 45">
              <a:extLst>
                <a:ext uri="{FF2B5EF4-FFF2-40B4-BE49-F238E27FC236}">
                  <a16:creationId xmlns:a16="http://schemas.microsoft.com/office/drawing/2014/main" id="{D9D79138-EB59-AA98-9D7F-64F25CDD3423}"/>
                </a:ext>
              </a:extLst>
            </p:cNvPr>
            <p:cNvSpPr/>
            <p:nvPr/>
          </p:nvSpPr>
          <p:spPr>
            <a:xfrm rot="10800000">
              <a:off x="-1" y="1316479"/>
              <a:ext cx="1114046" cy="1201041"/>
            </a:xfrm>
            <a:custGeom>
              <a:avLst/>
              <a:gdLst>
                <a:gd name="connsiteX0" fmla="*/ 1089238 w 1114046"/>
                <a:gd name="connsiteY0" fmla="*/ 268061 h 1201041"/>
                <a:gd name="connsiteX1" fmla="*/ 1089239 w 1114046"/>
                <a:gd name="connsiteY1" fmla="*/ 268059 h 1201041"/>
                <a:gd name="connsiteX2" fmla="*/ 1089238 w 1114046"/>
                <a:gd name="connsiteY2" fmla="*/ 268058 h 1201041"/>
                <a:gd name="connsiteX3" fmla="*/ 1089236 w 1114046"/>
                <a:gd name="connsiteY3" fmla="*/ 268059 h 1201041"/>
                <a:gd name="connsiteX4" fmla="*/ 1106579 w 1114046"/>
                <a:gd name="connsiteY4" fmla="*/ 1201041 h 1201041"/>
                <a:gd name="connsiteX5" fmla="*/ 1089238 w 1114046"/>
                <a:gd name="connsiteY5" fmla="*/ 1199379 h 1201041"/>
                <a:gd name="connsiteX6" fmla="*/ 1071896 w 1114046"/>
                <a:gd name="connsiteY6" fmla="*/ 1201041 h 1201041"/>
                <a:gd name="connsiteX7" fmla="*/ 860908 w 1114046"/>
                <a:gd name="connsiteY7" fmla="*/ 1113647 h 1201041"/>
                <a:gd name="connsiteX8" fmla="*/ 607900 w 1114046"/>
                <a:gd name="connsiteY8" fmla="*/ 860638 h 1201041"/>
                <a:gd name="connsiteX9" fmla="*/ 607900 w 1114046"/>
                <a:gd name="connsiteY9" fmla="*/ 860635 h 1201041"/>
                <a:gd name="connsiteX10" fmla="*/ 0 w 1114046"/>
                <a:gd name="connsiteY10" fmla="*/ 252736 h 1201041"/>
                <a:gd name="connsiteX11" fmla="*/ 0 w 1114046"/>
                <a:gd name="connsiteY11" fmla="*/ 243260 h 1201041"/>
                <a:gd name="connsiteX12" fmla="*/ 38934 w 1114046"/>
                <a:gd name="connsiteY12" fmla="*/ 204326 h 1201041"/>
                <a:gd name="connsiteX13" fmla="*/ 532220 w 1114046"/>
                <a:gd name="connsiteY13" fmla="*/ 0 h 1201041"/>
                <a:gd name="connsiteX14" fmla="*/ 607901 w 1114046"/>
                <a:gd name="connsiteY14" fmla="*/ 7254 h 1201041"/>
                <a:gd name="connsiteX15" fmla="*/ 607901 w 1114046"/>
                <a:gd name="connsiteY15" fmla="*/ 7256 h 1201041"/>
                <a:gd name="connsiteX16" fmla="*/ 614326 w 1114046"/>
                <a:gd name="connsiteY16" fmla="*/ 7872 h 1201041"/>
                <a:gd name="connsiteX17" fmla="*/ 652653 w 1114046"/>
                <a:gd name="connsiteY17" fmla="*/ 46200 h 1201041"/>
                <a:gd name="connsiteX18" fmla="*/ 958470 w 1114046"/>
                <a:gd name="connsiteY18" fmla="*/ 208903 h 1201041"/>
                <a:gd name="connsiteX19" fmla="*/ 1037672 w 1114046"/>
                <a:gd name="connsiteY19" fmla="*/ 216494 h 1201041"/>
                <a:gd name="connsiteX20" fmla="*/ 1086765 w 1114046"/>
                <a:gd name="connsiteY20" fmla="*/ 265588 h 1201041"/>
                <a:gd name="connsiteX21" fmla="*/ 1086765 w 1114046"/>
                <a:gd name="connsiteY21" fmla="*/ 265585 h 1201041"/>
                <a:gd name="connsiteX22" fmla="*/ 1037672 w 1114046"/>
                <a:gd name="connsiteY22" fmla="*/ 216492 h 1201041"/>
                <a:gd name="connsiteX23" fmla="*/ 1071643 w 1114046"/>
                <a:gd name="connsiteY23" fmla="*/ 219749 h 1201041"/>
                <a:gd name="connsiteX24" fmla="*/ 1086765 w 1114046"/>
                <a:gd name="connsiteY24" fmla="*/ 218300 h 1201041"/>
                <a:gd name="connsiteX25" fmla="*/ 1086765 w 1114046"/>
                <a:gd name="connsiteY25" fmla="*/ 217826 h 1201041"/>
                <a:gd name="connsiteX26" fmla="*/ 1089238 w 1114046"/>
                <a:gd name="connsiteY26" fmla="*/ 218063 h 1201041"/>
                <a:gd name="connsiteX27" fmla="*/ 1091710 w 1114046"/>
                <a:gd name="connsiteY27" fmla="*/ 217826 h 1201041"/>
                <a:gd name="connsiteX28" fmla="*/ 1091710 w 1114046"/>
                <a:gd name="connsiteY28" fmla="*/ 218300 h 1201041"/>
                <a:gd name="connsiteX29" fmla="*/ 1106832 w 1114046"/>
                <a:gd name="connsiteY29" fmla="*/ 219749 h 1201041"/>
                <a:gd name="connsiteX30" fmla="*/ 1114046 w 1114046"/>
                <a:gd name="connsiteY30" fmla="*/ 219058 h 1201041"/>
                <a:gd name="connsiteX31" fmla="*/ 1114046 w 1114046"/>
                <a:gd name="connsiteY31" fmla="*/ 243249 h 1201041"/>
                <a:gd name="connsiteX32" fmla="*/ 1091710 w 1114046"/>
                <a:gd name="connsiteY32" fmla="*/ 265585 h 1201041"/>
                <a:gd name="connsiteX33" fmla="*/ 1091710 w 1114046"/>
                <a:gd name="connsiteY33" fmla="*/ 265588 h 1201041"/>
                <a:gd name="connsiteX34" fmla="*/ 1114046 w 1114046"/>
                <a:gd name="connsiteY34" fmla="*/ 243252 h 1201041"/>
                <a:gd name="connsiteX35" fmla="*/ 1114046 w 1114046"/>
                <a:gd name="connsiteY35" fmla="*/ 1200325 h 1201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14046" h="1201041">
                  <a:moveTo>
                    <a:pt x="1089238" y="268061"/>
                  </a:moveTo>
                  <a:lnTo>
                    <a:pt x="1089239" y="268059"/>
                  </a:lnTo>
                  <a:lnTo>
                    <a:pt x="1089238" y="268058"/>
                  </a:lnTo>
                  <a:lnTo>
                    <a:pt x="1089236" y="268059"/>
                  </a:lnTo>
                  <a:close/>
                  <a:moveTo>
                    <a:pt x="1106579" y="1201041"/>
                  </a:moveTo>
                  <a:lnTo>
                    <a:pt x="1089238" y="1199379"/>
                  </a:lnTo>
                  <a:lnTo>
                    <a:pt x="1071896" y="1201041"/>
                  </a:lnTo>
                  <a:cubicBezTo>
                    <a:pt x="995534" y="1201041"/>
                    <a:pt x="919171" y="1171910"/>
                    <a:pt x="860908" y="1113647"/>
                  </a:cubicBezTo>
                  <a:lnTo>
                    <a:pt x="607900" y="860638"/>
                  </a:lnTo>
                  <a:lnTo>
                    <a:pt x="607900" y="860635"/>
                  </a:lnTo>
                  <a:lnTo>
                    <a:pt x="0" y="252736"/>
                  </a:lnTo>
                  <a:lnTo>
                    <a:pt x="0" y="243260"/>
                  </a:lnTo>
                  <a:lnTo>
                    <a:pt x="38934" y="204326"/>
                  </a:lnTo>
                  <a:cubicBezTo>
                    <a:pt x="175151" y="68108"/>
                    <a:pt x="353685" y="0"/>
                    <a:pt x="532220" y="0"/>
                  </a:cubicBezTo>
                  <a:lnTo>
                    <a:pt x="607901" y="7254"/>
                  </a:lnTo>
                  <a:lnTo>
                    <a:pt x="607901" y="7256"/>
                  </a:lnTo>
                  <a:lnTo>
                    <a:pt x="614326" y="7872"/>
                  </a:lnTo>
                  <a:lnTo>
                    <a:pt x="652653" y="46200"/>
                  </a:lnTo>
                  <a:cubicBezTo>
                    <a:pt x="739429" y="132975"/>
                    <a:pt x="846422" y="187209"/>
                    <a:pt x="958470" y="208903"/>
                  </a:cubicBezTo>
                  <a:lnTo>
                    <a:pt x="1037672" y="216494"/>
                  </a:lnTo>
                  <a:lnTo>
                    <a:pt x="1086765" y="265588"/>
                  </a:lnTo>
                  <a:lnTo>
                    <a:pt x="1086765" y="265585"/>
                  </a:lnTo>
                  <a:lnTo>
                    <a:pt x="1037672" y="216492"/>
                  </a:lnTo>
                  <a:lnTo>
                    <a:pt x="1071643" y="219749"/>
                  </a:lnTo>
                  <a:lnTo>
                    <a:pt x="1086765" y="218300"/>
                  </a:lnTo>
                  <a:lnTo>
                    <a:pt x="1086765" y="217826"/>
                  </a:lnTo>
                  <a:lnTo>
                    <a:pt x="1089238" y="218063"/>
                  </a:lnTo>
                  <a:lnTo>
                    <a:pt x="1091710" y="217826"/>
                  </a:lnTo>
                  <a:lnTo>
                    <a:pt x="1091710" y="218300"/>
                  </a:lnTo>
                  <a:lnTo>
                    <a:pt x="1106832" y="219749"/>
                  </a:lnTo>
                  <a:lnTo>
                    <a:pt x="1114046" y="219058"/>
                  </a:lnTo>
                  <a:lnTo>
                    <a:pt x="1114046" y="243249"/>
                  </a:lnTo>
                  <a:lnTo>
                    <a:pt x="1091710" y="265585"/>
                  </a:lnTo>
                  <a:lnTo>
                    <a:pt x="1091710" y="265588"/>
                  </a:lnTo>
                  <a:lnTo>
                    <a:pt x="1114046" y="243252"/>
                  </a:lnTo>
                  <a:lnTo>
                    <a:pt x="1114046" y="1200325"/>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32138081-97D7-B328-E190-2AEFE2EA8EE4}"/>
              </a:ext>
            </a:extLst>
          </p:cNvPr>
          <p:cNvSpPr>
            <a:spLocks noGrp="1"/>
          </p:cNvSpPr>
          <p:nvPr>
            <p:ph type="dt" sz="half" idx="22"/>
          </p:nvPr>
        </p:nvSpPr>
        <p:spPr/>
        <p:txBody>
          <a:bodyPr/>
          <a:lstStyle/>
          <a:p>
            <a:fld id="{FC44A2C0-BE61-4EDF-9FD5-AA7C3C6C4F15}" type="datetime1">
              <a:rPr lang="en-US" smtClean="0"/>
              <a:t>4/13/2023</a:t>
            </a:fld>
            <a:endParaRPr lang="en-US"/>
          </a:p>
        </p:txBody>
      </p:sp>
      <p:sp>
        <p:nvSpPr>
          <p:cNvPr id="4" name="Footer Placeholder 3">
            <a:extLst>
              <a:ext uri="{FF2B5EF4-FFF2-40B4-BE49-F238E27FC236}">
                <a16:creationId xmlns:a16="http://schemas.microsoft.com/office/drawing/2014/main" id="{4C940201-2D26-D759-3D63-5814441A7899}"/>
              </a:ext>
            </a:extLst>
          </p:cNvPr>
          <p:cNvSpPr>
            <a:spLocks noGrp="1"/>
          </p:cNvSpPr>
          <p:nvPr>
            <p:ph type="ftr" sz="quarter" idx="23"/>
          </p:nvPr>
        </p:nvSpPr>
        <p:spPr/>
        <p:txBody>
          <a:bodyPr/>
          <a:lstStyle/>
          <a:p>
            <a:endParaRPr lang="en-US"/>
          </a:p>
        </p:txBody>
      </p:sp>
      <p:sp>
        <p:nvSpPr>
          <p:cNvPr id="7" name="Slide Number Placeholder 6">
            <a:extLst>
              <a:ext uri="{FF2B5EF4-FFF2-40B4-BE49-F238E27FC236}">
                <a16:creationId xmlns:a16="http://schemas.microsoft.com/office/drawing/2014/main" id="{8C2BCCD4-0274-BFA2-B5D3-6480FE8CCA75}"/>
              </a:ext>
            </a:extLst>
          </p:cNvPr>
          <p:cNvSpPr>
            <a:spLocks noGrp="1"/>
          </p:cNvSpPr>
          <p:nvPr>
            <p:ph type="sldNum" sz="quarter" idx="24"/>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375161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Slide 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3122EA-1779-00C8-840F-FB101E56D0B9}"/>
              </a:ext>
            </a:extLst>
          </p:cNvPr>
          <p:cNvGraphicFramePr>
            <a:graphicFrameLocks noChangeAspect="1"/>
          </p:cNvGraphicFramePr>
          <p:nvPr>
            <p:custDataLst>
              <p:tags r:id="rId2"/>
            </p:custDataLst>
            <p:extLst>
              <p:ext uri="{D42A27DB-BD31-4B8C-83A1-F6EECF244321}">
                <p14:modId xmlns:p14="http://schemas.microsoft.com/office/powerpoint/2010/main" val="354297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AF3122EA-1779-00C8-840F-FB101E56D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 Placeholder 5">
            <a:extLst>
              <a:ext uri="{FF2B5EF4-FFF2-40B4-BE49-F238E27FC236}">
                <a16:creationId xmlns:a16="http://schemas.microsoft.com/office/drawing/2014/main" id="{5C368CEE-E751-4BE4-74CF-27A47FDFB49E}"/>
              </a:ext>
            </a:extLst>
          </p:cNvPr>
          <p:cNvSpPr>
            <a:spLocks noGrp="1"/>
          </p:cNvSpPr>
          <p:nvPr>
            <p:ph type="body" sz="quarter" idx="14" hasCustomPrompt="1"/>
          </p:nvPr>
        </p:nvSpPr>
        <p:spPr>
          <a:xfrm>
            <a:off x="6788547"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0" name="Text Placeholder 5">
            <a:extLst>
              <a:ext uri="{FF2B5EF4-FFF2-40B4-BE49-F238E27FC236}">
                <a16:creationId xmlns:a16="http://schemas.microsoft.com/office/drawing/2014/main" id="{D1A839E2-2083-51A3-6D1E-23506CB0FA69}"/>
              </a:ext>
            </a:extLst>
          </p:cNvPr>
          <p:cNvSpPr>
            <a:spLocks noGrp="1"/>
          </p:cNvSpPr>
          <p:nvPr>
            <p:ph type="body" sz="quarter" idx="15" hasCustomPrompt="1"/>
          </p:nvPr>
        </p:nvSpPr>
        <p:spPr>
          <a:xfrm>
            <a:off x="6788547"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1" name="Text Placeholder 5">
            <a:extLst>
              <a:ext uri="{FF2B5EF4-FFF2-40B4-BE49-F238E27FC236}">
                <a16:creationId xmlns:a16="http://schemas.microsoft.com/office/drawing/2014/main" id="{A54B016A-4C57-D7ED-94FF-247F0D862378}"/>
              </a:ext>
            </a:extLst>
          </p:cNvPr>
          <p:cNvSpPr>
            <a:spLocks noGrp="1"/>
          </p:cNvSpPr>
          <p:nvPr>
            <p:ph type="body" sz="quarter" idx="16" hasCustomPrompt="1"/>
          </p:nvPr>
        </p:nvSpPr>
        <p:spPr>
          <a:xfrm>
            <a:off x="6788547"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2" name="Text Placeholder 5">
            <a:extLst>
              <a:ext uri="{FF2B5EF4-FFF2-40B4-BE49-F238E27FC236}">
                <a16:creationId xmlns:a16="http://schemas.microsoft.com/office/drawing/2014/main" id="{B48011A9-1AF3-AB2F-E4F7-6F3BED06C120}"/>
              </a:ext>
            </a:extLst>
          </p:cNvPr>
          <p:cNvSpPr>
            <a:spLocks noGrp="1"/>
          </p:cNvSpPr>
          <p:nvPr>
            <p:ph type="body" sz="quarter" idx="17" hasCustomPrompt="1"/>
          </p:nvPr>
        </p:nvSpPr>
        <p:spPr>
          <a:xfrm>
            <a:off x="6788545"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3" name="Date Placeholder 2">
            <a:extLst>
              <a:ext uri="{FF2B5EF4-FFF2-40B4-BE49-F238E27FC236}">
                <a16:creationId xmlns:a16="http://schemas.microsoft.com/office/drawing/2014/main" id="{F784241F-1505-D003-218A-3AF5A4B22FCE}"/>
              </a:ext>
            </a:extLst>
          </p:cNvPr>
          <p:cNvSpPr>
            <a:spLocks noGrp="1"/>
          </p:cNvSpPr>
          <p:nvPr>
            <p:ph type="dt" sz="half" idx="10"/>
          </p:nvPr>
        </p:nvSpPr>
        <p:spPr/>
        <p:txBody>
          <a:bodyPr/>
          <a:lstStyle/>
          <a:p>
            <a:fld id="{C35E8F29-45D5-4905-9631-7725269CB11C}" type="datetime1">
              <a:rPr lang="en-US" smtClean="0"/>
              <a:t>4/13/2023</a:t>
            </a:fld>
            <a:endParaRPr lang="en-US"/>
          </a:p>
        </p:txBody>
      </p:sp>
      <p:sp>
        <p:nvSpPr>
          <p:cNvPr id="4" name="Footer Placeholder 3">
            <a:extLst>
              <a:ext uri="{FF2B5EF4-FFF2-40B4-BE49-F238E27FC236}">
                <a16:creationId xmlns:a16="http://schemas.microsoft.com/office/drawing/2014/main" id="{015D8229-8A40-0A52-C25B-825C75289C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A9442A-7A30-899E-0137-D8574CCF4B3C}"/>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23" name="Text Placeholder 5">
            <a:extLst>
              <a:ext uri="{FF2B5EF4-FFF2-40B4-BE49-F238E27FC236}">
                <a16:creationId xmlns:a16="http://schemas.microsoft.com/office/drawing/2014/main" id="{BCE801BB-013A-E515-1D51-D446574FB00E}"/>
              </a:ext>
            </a:extLst>
          </p:cNvPr>
          <p:cNvSpPr>
            <a:spLocks noGrp="1"/>
          </p:cNvSpPr>
          <p:nvPr>
            <p:ph type="body" sz="quarter" idx="22" hasCustomPrompt="1"/>
          </p:nvPr>
        </p:nvSpPr>
        <p:spPr>
          <a:xfrm>
            <a:off x="955041" y="2372783"/>
            <a:ext cx="4946252" cy="936624"/>
          </a:xfrm>
          <a:solidFill>
            <a:schemeClr val="accent1"/>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28" name="Text Placeholder 5">
            <a:extLst>
              <a:ext uri="{FF2B5EF4-FFF2-40B4-BE49-F238E27FC236}">
                <a16:creationId xmlns:a16="http://schemas.microsoft.com/office/drawing/2014/main" id="{DDA249DE-F39E-D0E7-9800-A1758BB79A9C}"/>
              </a:ext>
            </a:extLst>
          </p:cNvPr>
          <p:cNvSpPr>
            <a:spLocks noGrp="1"/>
          </p:cNvSpPr>
          <p:nvPr>
            <p:ph type="body" sz="quarter" idx="23" hasCustomPrompt="1"/>
          </p:nvPr>
        </p:nvSpPr>
        <p:spPr>
          <a:xfrm>
            <a:off x="955041" y="3548591"/>
            <a:ext cx="4946252" cy="936624"/>
          </a:xfrm>
          <a:solidFill>
            <a:schemeClr val="accent3"/>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29" name="Text Placeholder 5">
            <a:extLst>
              <a:ext uri="{FF2B5EF4-FFF2-40B4-BE49-F238E27FC236}">
                <a16:creationId xmlns:a16="http://schemas.microsoft.com/office/drawing/2014/main" id="{AF9CC1FC-E123-3627-9D7C-30FB23FA92DC}"/>
              </a:ext>
            </a:extLst>
          </p:cNvPr>
          <p:cNvSpPr>
            <a:spLocks noGrp="1"/>
          </p:cNvSpPr>
          <p:nvPr>
            <p:ph type="body" sz="quarter" idx="24" hasCustomPrompt="1"/>
          </p:nvPr>
        </p:nvSpPr>
        <p:spPr>
          <a:xfrm>
            <a:off x="955041" y="4724400"/>
            <a:ext cx="4946252" cy="936624"/>
          </a:xfrm>
          <a:solidFill>
            <a:schemeClr val="accent4"/>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a:solidFill>
                  <a:schemeClr val="bg1"/>
                </a:solidFill>
              </a:defRPr>
            </a:lvl1pPr>
          </a:lstStyle>
          <a:p>
            <a:pPr marL="228600" lvl="0" indent="-228600">
              <a:spcBef>
                <a:spcPts val="0"/>
              </a:spcBef>
            </a:pPr>
            <a:r>
              <a:rPr lang="en-US"/>
              <a:t>Agenda content here. </a:t>
            </a:r>
          </a:p>
        </p:txBody>
      </p:sp>
      <p:sp>
        <p:nvSpPr>
          <p:cNvPr id="30" name="Text Placeholder 5">
            <a:extLst>
              <a:ext uri="{FF2B5EF4-FFF2-40B4-BE49-F238E27FC236}">
                <a16:creationId xmlns:a16="http://schemas.microsoft.com/office/drawing/2014/main" id="{FB66098F-1C0C-388A-4A14-BB4D3BA9DC7C}"/>
              </a:ext>
            </a:extLst>
          </p:cNvPr>
          <p:cNvSpPr>
            <a:spLocks noGrp="1"/>
          </p:cNvSpPr>
          <p:nvPr>
            <p:ph type="body" sz="quarter" idx="25" hasCustomPrompt="1"/>
          </p:nvPr>
        </p:nvSpPr>
        <p:spPr>
          <a:xfrm>
            <a:off x="955041" y="1196975"/>
            <a:ext cx="4946252" cy="936624"/>
          </a:xfrm>
          <a:solidFill>
            <a:schemeClr val="tx2"/>
          </a:solidFill>
          <a:effectLst>
            <a:outerShdw blurRad="127000" sx="102000" sy="102000" algn="ctr" rotWithShape="0">
              <a:prstClr val="black">
                <a:alpha val="5000"/>
              </a:prstClr>
            </a:outerShdw>
          </a:effectLst>
        </p:spPr>
        <p:txBody>
          <a:bodyPr vert="horz" lIns="900000" tIns="72000" rIns="180000" bIns="72000" rtlCol="0" anchor="ctr" anchorCtr="0">
            <a:noAutofit/>
          </a:bodyPr>
          <a:lstStyle>
            <a:lvl1pPr marL="0" indent="0">
              <a:buNone/>
              <a:defRPr lang="en-US" sz="2200" dirty="0">
                <a:solidFill>
                  <a:schemeClr val="bg1"/>
                </a:solidFill>
              </a:defRPr>
            </a:lvl1pPr>
          </a:lstStyle>
          <a:p>
            <a:pPr marL="228600" lvl="0" indent="-228600">
              <a:spcBef>
                <a:spcPts val="0"/>
              </a:spcBef>
            </a:pPr>
            <a:r>
              <a:rPr lang="en-US"/>
              <a:t>Agenda content here. </a:t>
            </a:r>
          </a:p>
        </p:txBody>
      </p:sp>
      <p:sp>
        <p:nvSpPr>
          <p:cNvPr id="11" name="Title 10">
            <a:extLst>
              <a:ext uri="{FF2B5EF4-FFF2-40B4-BE49-F238E27FC236}">
                <a16:creationId xmlns:a16="http://schemas.microsoft.com/office/drawing/2014/main" id="{54A914CA-34A0-5CCF-8942-4D02903ED726}"/>
              </a:ext>
            </a:extLst>
          </p:cNvPr>
          <p:cNvSpPr>
            <a:spLocks noGrp="1"/>
          </p:cNvSpPr>
          <p:nvPr>
            <p:ph type="title"/>
          </p:nvPr>
        </p:nvSpPr>
        <p:spPr/>
        <p:txBody>
          <a:bodyPr vert="horz"/>
          <a:lstStyle/>
          <a:p>
            <a:r>
              <a:rPr lang="en-US"/>
              <a:t>Click to edit Master title style</a:t>
            </a:r>
          </a:p>
        </p:txBody>
      </p:sp>
      <p:graphicFrame>
        <p:nvGraphicFramePr>
          <p:cNvPr id="35" name="Object 34">
            <a:extLst>
              <a:ext uri="{FF2B5EF4-FFF2-40B4-BE49-F238E27FC236}">
                <a16:creationId xmlns:a16="http://schemas.microsoft.com/office/drawing/2014/main" id="{44E001EC-7EE6-98F5-5D54-018F505A666B}"/>
              </a:ext>
            </a:extLst>
          </p:cNvPr>
          <p:cNvGraphicFramePr>
            <a:graphicFrameLocks noChangeAspect="1"/>
          </p:cNvGraphicFramePr>
          <p:nvPr userDrawn="1">
            <p:custDataLst>
              <p:tags r:id="rId3"/>
            </p:custDataLst>
            <p:extLst>
              <p:ext uri="{D42A27DB-BD31-4B8C-83A1-F6EECF244321}">
                <p14:modId xmlns:p14="http://schemas.microsoft.com/office/powerpoint/2010/main" val="146350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a:extLst>
                          <a:ext uri="{FF2B5EF4-FFF2-40B4-BE49-F238E27FC236}">
                            <a16:creationId xmlns:a16="http://schemas.microsoft.com/office/drawing/2014/main" id="{44E001EC-7EE6-98F5-5D54-018F505A66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2020E2A-11C0-BDDA-BBB2-F89B217C707C}"/>
              </a:ext>
            </a:extLst>
          </p:cNvPr>
          <p:cNvSpPr>
            <a:spLocks noGrp="1"/>
          </p:cNvSpPr>
          <p:nvPr>
            <p:ph type="body" sz="quarter" idx="30" hasCustomPrompt="1"/>
          </p:nvPr>
        </p:nvSpPr>
        <p:spPr>
          <a:xfrm>
            <a:off x="457200"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8" name="Text Placeholder 6">
            <a:extLst>
              <a:ext uri="{FF2B5EF4-FFF2-40B4-BE49-F238E27FC236}">
                <a16:creationId xmlns:a16="http://schemas.microsoft.com/office/drawing/2014/main" id="{33244AFE-7A2D-EC1B-BBCF-3C9BD7BB3154}"/>
              </a:ext>
            </a:extLst>
          </p:cNvPr>
          <p:cNvSpPr>
            <a:spLocks noGrp="1"/>
          </p:cNvSpPr>
          <p:nvPr>
            <p:ph type="body" sz="quarter" idx="31" hasCustomPrompt="1"/>
          </p:nvPr>
        </p:nvSpPr>
        <p:spPr>
          <a:xfrm>
            <a:off x="457200"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9" name="Text Placeholder 6">
            <a:extLst>
              <a:ext uri="{FF2B5EF4-FFF2-40B4-BE49-F238E27FC236}">
                <a16:creationId xmlns:a16="http://schemas.microsoft.com/office/drawing/2014/main" id="{9F098475-45B7-E9DF-DEEA-7928B8D8B29B}"/>
              </a:ext>
            </a:extLst>
          </p:cNvPr>
          <p:cNvSpPr>
            <a:spLocks noGrp="1"/>
          </p:cNvSpPr>
          <p:nvPr>
            <p:ph type="body" sz="quarter" idx="32" hasCustomPrompt="1"/>
          </p:nvPr>
        </p:nvSpPr>
        <p:spPr>
          <a:xfrm>
            <a:off x="457200"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0" name="Text Placeholder 6">
            <a:extLst>
              <a:ext uri="{FF2B5EF4-FFF2-40B4-BE49-F238E27FC236}">
                <a16:creationId xmlns:a16="http://schemas.microsoft.com/office/drawing/2014/main" id="{F575CEC7-AF3C-89A6-AFEE-ACF6CA702D87}"/>
              </a:ext>
            </a:extLst>
          </p:cNvPr>
          <p:cNvSpPr>
            <a:spLocks noGrp="1"/>
          </p:cNvSpPr>
          <p:nvPr>
            <p:ph type="body" sz="quarter" idx="33" hasCustomPrompt="1"/>
          </p:nvPr>
        </p:nvSpPr>
        <p:spPr>
          <a:xfrm>
            <a:off x="457200"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
        <p:nvSpPr>
          <p:cNvPr id="12" name="Text Placeholder 6">
            <a:extLst>
              <a:ext uri="{FF2B5EF4-FFF2-40B4-BE49-F238E27FC236}">
                <a16:creationId xmlns:a16="http://schemas.microsoft.com/office/drawing/2014/main" id="{65519D58-AEB7-9D2B-AEAD-6F30AFFD5133}"/>
              </a:ext>
            </a:extLst>
          </p:cNvPr>
          <p:cNvSpPr>
            <a:spLocks noGrp="1"/>
          </p:cNvSpPr>
          <p:nvPr>
            <p:ph type="body" sz="quarter" idx="34" hasCustomPrompt="1"/>
          </p:nvPr>
        </p:nvSpPr>
        <p:spPr>
          <a:xfrm>
            <a:off x="6320545" y="1197287"/>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tx2"/>
                </a:solidFill>
              </a:defRPr>
            </a:lvl1pPr>
          </a:lstStyle>
          <a:p>
            <a:pPr lvl="0"/>
            <a:r>
              <a:rPr lang="en-GB"/>
              <a:t>00:00</a:t>
            </a:r>
            <a:br>
              <a:rPr lang="en-GB"/>
            </a:br>
            <a:r>
              <a:rPr lang="en-US"/>
              <a:t>am</a:t>
            </a:r>
            <a:endParaRPr lang="en-GB"/>
          </a:p>
        </p:txBody>
      </p:sp>
      <p:sp>
        <p:nvSpPr>
          <p:cNvPr id="13" name="Text Placeholder 6">
            <a:extLst>
              <a:ext uri="{FF2B5EF4-FFF2-40B4-BE49-F238E27FC236}">
                <a16:creationId xmlns:a16="http://schemas.microsoft.com/office/drawing/2014/main" id="{BEBB42D6-E656-7FE4-212F-6267AE6E6A8B}"/>
              </a:ext>
            </a:extLst>
          </p:cNvPr>
          <p:cNvSpPr>
            <a:spLocks noGrp="1"/>
          </p:cNvSpPr>
          <p:nvPr>
            <p:ph type="body" sz="quarter" idx="35" hasCustomPrompt="1"/>
          </p:nvPr>
        </p:nvSpPr>
        <p:spPr>
          <a:xfrm>
            <a:off x="6320545" y="2373095"/>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1"/>
                </a:solidFill>
              </a:defRPr>
            </a:lvl1pPr>
          </a:lstStyle>
          <a:p>
            <a:pPr lvl="0"/>
            <a:r>
              <a:rPr lang="en-GB"/>
              <a:t>00:00</a:t>
            </a:r>
            <a:br>
              <a:rPr lang="en-GB"/>
            </a:br>
            <a:r>
              <a:rPr lang="en-US"/>
              <a:t>am</a:t>
            </a:r>
            <a:endParaRPr lang="en-GB"/>
          </a:p>
        </p:txBody>
      </p:sp>
      <p:sp>
        <p:nvSpPr>
          <p:cNvPr id="14" name="Text Placeholder 6">
            <a:extLst>
              <a:ext uri="{FF2B5EF4-FFF2-40B4-BE49-F238E27FC236}">
                <a16:creationId xmlns:a16="http://schemas.microsoft.com/office/drawing/2014/main" id="{974BB80C-6662-B20B-AFAE-8CE0227B9D56}"/>
              </a:ext>
            </a:extLst>
          </p:cNvPr>
          <p:cNvSpPr>
            <a:spLocks noGrp="1"/>
          </p:cNvSpPr>
          <p:nvPr>
            <p:ph type="body" sz="quarter" idx="36" hasCustomPrompt="1"/>
          </p:nvPr>
        </p:nvSpPr>
        <p:spPr>
          <a:xfrm>
            <a:off x="6320545" y="3548903"/>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3"/>
                </a:solidFill>
              </a:defRPr>
            </a:lvl1pPr>
          </a:lstStyle>
          <a:p>
            <a:pPr lvl="0"/>
            <a:r>
              <a:rPr lang="en-GB"/>
              <a:t>00:00</a:t>
            </a:r>
            <a:br>
              <a:rPr lang="en-GB"/>
            </a:br>
            <a:r>
              <a:rPr lang="en-US"/>
              <a:t>am</a:t>
            </a:r>
            <a:endParaRPr lang="en-GB"/>
          </a:p>
        </p:txBody>
      </p:sp>
      <p:sp>
        <p:nvSpPr>
          <p:cNvPr id="15" name="Text Placeholder 6">
            <a:extLst>
              <a:ext uri="{FF2B5EF4-FFF2-40B4-BE49-F238E27FC236}">
                <a16:creationId xmlns:a16="http://schemas.microsoft.com/office/drawing/2014/main" id="{90C014B4-D61D-611F-A4FF-430ABD98617C}"/>
              </a:ext>
            </a:extLst>
          </p:cNvPr>
          <p:cNvSpPr>
            <a:spLocks noGrp="1"/>
          </p:cNvSpPr>
          <p:nvPr>
            <p:ph type="body" sz="quarter" idx="37" hasCustomPrompt="1"/>
          </p:nvPr>
        </p:nvSpPr>
        <p:spPr>
          <a:xfrm>
            <a:off x="6320545" y="4724712"/>
            <a:ext cx="936000" cy="936000"/>
          </a:xfrm>
          <a:prstGeom prst="ellipse">
            <a:avLst/>
          </a:prstGeom>
          <a:solidFill>
            <a:schemeClr val="bg1"/>
          </a:solidFill>
          <a:effectLst>
            <a:outerShdw blurRad="127000" dist="38100" algn="l" rotWithShape="0">
              <a:prstClr val="black">
                <a:alpha val="15000"/>
              </a:prstClr>
            </a:outerShdw>
          </a:effectLst>
        </p:spPr>
        <p:txBody>
          <a:bodyPr wrap="none" lIns="36000" tIns="36000" rIns="36000" bIns="36000" anchor="ctr" anchorCtr="0"/>
          <a:lstStyle>
            <a:lvl1pPr marL="0" indent="0" algn="ctr">
              <a:spcBef>
                <a:spcPts val="0"/>
              </a:spcBef>
              <a:buNone/>
              <a:defRPr sz="1800" b="1">
                <a:solidFill>
                  <a:schemeClr val="accent4"/>
                </a:solidFill>
              </a:defRPr>
            </a:lvl1pPr>
          </a:lstStyle>
          <a:p>
            <a:pPr lvl="0"/>
            <a:r>
              <a:rPr lang="en-GB"/>
              <a:t>00:00</a:t>
            </a:r>
            <a:br>
              <a:rPr lang="en-GB"/>
            </a:br>
            <a:r>
              <a:rPr lang="en-US"/>
              <a:t>am</a:t>
            </a:r>
            <a:endParaRPr lang="en-GB"/>
          </a:p>
        </p:txBody>
      </p:sp>
    </p:spTree>
    <p:custDataLst>
      <p:tags r:id="rId1"/>
    </p:custDataLst>
    <p:extLst>
      <p:ext uri="{BB962C8B-B14F-4D97-AF65-F5344CB8AC3E}">
        <p14:creationId xmlns:p14="http://schemas.microsoft.com/office/powerpoint/2010/main" val="1387072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E46CD6EA-B4AA-E178-94CD-62F690472786}"/>
              </a:ext>
            </a:extLst>
          </p:cNvPr>
          <p:cNvSpPr>
            <a:spLocks noGrp="1"/>
          </p:cNvSpPr>
          <p:nvPr>
            <p:ph idx="1"/>
          </p:nvPr>
        </p:nvSpPr>
        <p:spPr/>
        <p:txBody>
          <a:bodyPr/>
          <a:lstStyle>
            <a:lvl1pPr>
              <a:defRPr sz="2200"/>
            </a:lvl1pPr>
            <a:lvl2pPr>
              <a:spcBef>
                <a:spcPts val="300"/>
              </a:spcBef>
              <a:defRPr sz="2000"/>
            </a:lvl2pPr>
            <a:lvl3pPr>
              <a:spcBef>
                <a:spcPts val="300"/>
              </a:spcBef>
              <a:defRPr sz="2000"/>
            </a:lvl3pPr>
            <a:lvl4pPr>
              <a:spcBef>
                <a:spcPts val="300"/>
              </a:spcBef>
              <a:defRPr sz="2000"/>
            </a:lvl4pPr>
            <a:lvl5pPr>
              <a:spcBef>
                <a:spcPts val="300"/>
              </a:spcBef>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9AA159-3B9D-3211-4AA8-1B19F882BFE1}"/>
              </a:ext>
            </a:extLst>
          </p:cNvPr>
          <p:cNvSpPr>
            <a:spLocks noGrp="1"/>
          </p:cNvSpPr>
          <p:nvPr>
            <p:ph type="dt" sz="half" idx="10"/>
          </p:nvPr>
        </p:nvSpPr>
        <p:spPr/>
        <p:txBody>
          <a:bodyPr/>
          <a:lstStyle/>
          <a:p>
            <a:fld id="{BABFE860-21FD-4DA0-9E9A-92548ED661C3}" type="datetime1">
              <a:rPr lang="en-US" smtClean="0"/>
              <a:t>4/13/2023</a:t>
            </a:fld>
            <a:endParaRPr lang="en-US"/>
          </a:p>
        </p:txBody>
      </p:sp>
      <p:sp>
        <p:nvSpPr>
          <p:cNvPr id="8" name="Footer Placeholder 7">
            <a:extLst>
              <a:ext uri="{FF2B5EF4-FFF2-40B4-BE49-F238E27FC236}">
                <a16:creationId xmlns:a16="http://schemas.microsoft.com/office/drawing/2014/main" id="{CEB830FF-6C5F-2FD4-4E1E-7277A5D311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C1827B6-25B8-98D2-B1A3-97F9AD9A942B}"/>
              </a:ext>
            </a:extLst>
          </p:cNvPr>
          <p:cNvSpPr>
            <a:spLocks noGrp="1"/>
          </p:cNvSpPr>
          <p:nvPr>
            <p:ph type="sldNum" sz="quarter" idx="12"/>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385011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01209D4-078A-4AA5-8039-CAF02E6D6A0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Tree>
    <p:custDataLst>
      <p:tags r:id="rId1"/>
    </p:custDataLst>
    <p:extLst>
      <p:ext uri="{BB962C8B-B14F-4D97-AF65-F5344CB8AC3E}">
        <p14:creationId xmlns:p14="http://schemas.microsoft.com/office/powerpoint/2010/main" val="23772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CB07A97-2153-340C-3C56-95BEA8874A27}"/>
              </a:ext>
            </a:extLst>
          </p:cNvPr>
          <p:cNvGraphicFramePr>
            <a:graphicFrameLocks noChangeAspect="1"/>
          </p:cNvGraphicFramePr>
          <p:nvPr>
            <p:custDataLst>
              <p:tags r:id="rId2"/>
            </p:custDataLst>
            <p:extLst>
              <p:ext uri="{D42A27DB-BD31-4B8C-83A1-F6EECF244321}">
                <p14:modId xmlns:p14="http://schemas.microsoft.com/office/powerpoint/2010/main" val="1321264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BCB07A97-2153-340C-3C56-95BEA8874A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DAF95A2-635F-6DDA-4091-0944F8CABE2A}"/>
              </a:ext>
            </a:extLst>
          </p:cNvPr>
          <p:cNvSpPr>
            <a:spLocks noGrp="1"/>
          </p:cNvSpPr>
          <p:nvPr>
            <p:ph sz="half" idx="2"/>
          </p:nvPr>
        </p:nvSpPr>
        <p:spPr>
          <a:xfrm>
            <a:off x="484895" y="2598765"/>
            <a:ext cx="5404628" cy="3493770"/>
          </a:xfrm>
          <a:custGeom>
            <a:avLst/>
            <a:gdLst>
              <a:gd name="connsiteX0" fmla="*/ 0 w 5404628"/>
              <a:gd name="connsiteY0" fmla="*/ 0 h 3493770"/>
              <a:gd name="connsiteX1" fmla="*/ 5404628 w 5404628"/>
              <a:gd name="connsiteY1" fmla="*/ 0 h 3493770"/>
              <a:gd name="connsiteX2" fmla="*/ 5404628 w 5404628"/>
              <a:gd name="connsiteY2" fmla="*/ 3071509 h 3493770"/>
              <a:gd name="connsiteX3" fmla="*/ 4982367 w 5404628"/>
              <a:gd name="connsiteY3" fmla="*/ 3493770 h 3493770"/>
              <a:gd name="connsiteX4" fmla="*/ 422261 w 5404628"/>
              <a:gd name="connsiteY4" fmla="*/ 3493770 h 3493770"/>
              <a:gd name="connsiteX5" fmla="*/ 0 w 5404628"/>
              <a:gd name="connsiteY5" fmla="*/ 3071509 h 34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4628" h="3493770">
                <a:moveTo>
                  <a:pt x="0" y="0"/>
                </a:moveTo>
                <a:lnTo>
                  <a:pt x="5404628" y="0"/>
                </a:lnTo>
                <a:lnTo>
                  <a:pt x="5404628" y="3071509"/>
                </a:lnTo>
                <a:cubicBezTo>
                  <a:pt x="5404628" y="3304717"/>
                  <a:pt x="5215575" y="3493770"/>
                  <a:pt x="4982367" y="3493770"/>
                </a:cubicBezTo>
                <a:lnTo>
                  <a:pt x="422261" y="3493770"/>
                </a:lnTo>
                <a:cubicBezTo>
                  <a:pt x="189053" y="3493770"/>
                  <a:pt x="0" y="3304717"/>
                  <a:pt x="0" y="3071509"/>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buClr>
                <a:schemeClr val="accent3"/>
              </a:buClr>
              <a:defRPr sz="2400"/>
            </a:lvl1pPr>
            <a:lvl2pPr>
              <a:spcBef>
                <a:spcPts val="1000"/>
              </a:spcBef>
              <a:buClr>
                <a:schemeClr val="accent3"/>
              </a:buClr>
              <a:defRPr sz="2400"/>
            </a:lvl2pPr>
            <a:lvl3pPr>
              <a:spcBef>
                <a:spcPts val="1000"/>
              </a:spcBef>
              <a:buClr>
                <a:schemeClr val="accent3"/>
              </a:buClr>
              <a:defRPr sz="2400"/>
            </a:lvl3pPr>
            <a:lvl4pPr>
              <a:spcBef>
                <a:spcPts val="1000"/>
              </a:spcBef>
              <a:buClr>
                <a:schemeClr val="accent3"/>
              </a:buClr>
              <a:defRPr sz="2400"/>
            </a:lvl4pPr>
            <a:lvl5pPr>
              <a:spcBef>
                <a:spcPts val="1000"/>
              </a:spcBef>
              <a:buClr>
                <a:schemeClr val="accent3"/>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75898194-73A1-CC87-2829-CDE6A5F40EEF}"/>
              </a:ext>
            </a:extLst>
          </p:cNvPr>
          <p:cNvSpPr>
            <a:spLocks noGrp="1"/>
          </p:cNvSpPr>
          <p:nvPr>
            <p:ph sz="quarter" idx="4"/>
          </p:nvPr>
        </p:nvSpPr>
        <p:spPr>
          <a:xfrm>
            <a:off x="6302479" y="2598765"/>
            <a:ext cx="5409452" cy="3494060"/>
          </a:xfrm>
          <a:custGeom>
            <a:avLst/>
            <a:gdLst>
              <a:gd name="connsiteX0" fmla="*/ 0 w 5409452"/>
              <a:gd name="connsiteY0" fmla="*/ 0 h 3494060"/>
              <a:gd name="connsiteX1" fmla="*/ 5409452 w 5409452"/>
              <a:gd name="connsiteY1" fmla="*/ 0 h 3494060"/>
              <a:gd name="connsiteX2" fmla="*/ 5409452 w 5409452"/>
              <a:gd name="connsiteY2" fmla="*/ 3081526 h 3494060"/>
              <a:gd name="connsiteX3" fmla="*/ 4996918 w 5409452"/>
              <a:gd name="connsiteY3" fmla="*/ 3494060 h 3494060"/>
              <a:gd name="connsiteX4" fmla="*/ 412534 w 5409452"/>
              <a:gd name="connsiteY4" fmla="*/ 3494060 h 3494060"/>
              <a:gd name="connsiteX5" fmla="*/ 0 w 5409452"/>
              <a:gd name="connsiteY5" fmla="*/ 3081526 h 3494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9452" h="3494060">
                <a:moveTo>
                  <a:pt x="0" y="0"/>
                </a:moveTo>
                <a:lnTo>
                  <a:pt x="5409452" y="0"/>
                </a:lnTo>
                <a:lnTo>
                  <a:pt x="5409452" y="3081526"/>
                </a:lnTo>
                <a:cubicBezTo>
                  <a:pt x="5409452" y="3309362"/>
                  <a:pt x="5224754" y="3494060"/>
                  <a:pt x="4996918" y="3494060"/>
                </a:cubicBezTo>
                <a:lnTo>
                  <a:pt x="412534" y="3494060"/>
                </a:lnTo>
                <a:cubicBezTo>
                  <a:pt x="184698" y="3494060"/>
                  <a:pt x="0" y="3309362"/>
                  <a:pt x="0" y="3081526"/>
                </a:cubicBezTo>
                <a:close/>
              </a:path>
            </a:pathLst>
          </a:custGeom>
          <a:solidFill>
            <a:schemeClr val="bg1"/>
          </a:solidFill>
          <a:effectLst>
            <a:outerShdw blurRad="127000" sx="102000" sy="102000" algn="ctr" rotWithShape="0">
              <a:prstClr val="black">
                <a:alpha val="10000"/>
              </a:prstClr>
            </a:outerShdw>
          </a:effectLst>
        </p:spPr>
        <p:txBody>
          <a:bodyPr wrap="square" lIns="180000" tIns="360000" rIns="180000" bIns="180000" anchor="t">
            <a:noAutofit/>
          </a:bodyPr>
          <a:lstStyle>
            <a:lvl1pPr>
              <a:spcBef>
                <a:spcPts val="1000"/>
              </a:spcBef>
              <a:defRPr sz="2400"/>
            </a:lvl1pPr>
            <a:lvl2pPr>
              <a:spcBef>
                <a:spcPts val="1000"/>
              </a:spcBef>
              <a:defRPr sz="2400"/>
            </a:lvl2pPr>
            <a:lvl3pPr>
              <a:spcBef>
                <a:spcPts val="1000"/>
              </a:spcBef>
              <a:defRPr sz="2400"/>
            </a:lvl3pPr>
            <a:lvl4pPr>
              <a:spcBef>
                <a:spcPts val="1000"/>
              </a:spcBef>
              <a:defRPr sz="2400"/>
            </a:lvl4pPr>
            <a:lvl5pPr>
              <a:spcBef>
                <a:spcPts val="100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A10C88-493B-6CAB-298F-D8121000C3D3}"/>
              </a:ext>
            </a:extLst>
          </p:cNvPr>
          <p:cNvSpPr>
            <a:spLocks noGrp="1"/>
          </p:cNvSpPr>
          <p:nvPr>
            <p:ph type="dt" sz="half" idx="10"/>
          </p:nvPr>
        </p:nvSpPr>
        <p:spPr/>
        <p:txBody>
          <a:bodyPr/>
          <a:lstStyle/>
          <a:p>
            <a:fld id="{FE7BFBBC-57B3-446A-8796-3A0B205B2B27}" type="datetime1">
              <a:rPr lang="en-US" smtClean="0"/>
              <a:t>4/13/2023</a:t>
            </a:fld>
            <a:endParaRPr lang="en-US"/>
          </a:p>
        </p:txBody>
      </p:sp>
      <p:sp>
        <p:nvSpPr>
          <p:cNvPr id="8" name="Footer Placeholder 7">
            <a:extLst>
              <a:ext uri="{FF2B5EF4-FFF2-40B4-BE49-F238E27FC236}">
                <a16:creationId xmlns:a16="http://schemas.microsoft.com/office/drawing/2014/main" id="{0BC915E7-3CAF-308C-4138-B2172BA9819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8DEE14A-07CA-1EEE-93A5-15EEACBE572A}"/>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4" name="Title 13">
            <a:extLst>
              <a:ext uri="{FF2B5EF4-FFF2-40B4-BE49-F238E27FC236}">
                <a16:creationId xmlns:a16="http://schemas.microsoft.com/office/drawing/2014/main" id="{2553464D-8B5E-F3D9-4410-42779691706F}"/>
              </a:ext>
            </a:extLst>
          </p:cNvPr>
          <p:cNvSpPr>
            <a:spLocks noGrp="1"/>
          </p:cNvSpPr>
          <p:nvPr>
            <p:ph type="title"/>
          </p:nvPr>
        </p:nvSpPr>
        <p:spPr/>
        <p:txBody>
          <a:bodyPr vert="horz"/>
          <a:lstStyle/>
          <a:p>
            <a:r>
              <a:rPr lang="en-US"/>
              <a:t>Click to edit Master title style</a:t>
            </a:r>
          </a:p>
        </p:txBody>
      </p:sp>
      <p:sp>
        <p:nvSpPr>
          <p:cNvPr id="3" name="Text Placeholder 2">
            <a:extLst>
              <a:ext uri="{FF2B5EF4-FFF2-40B4-BE49-F238E27FC236}">
                <a16:creationId xmlns:a16="http://schemas.microsoft.com/office/drawing/2014/main" id="{8AB5E302-C0B7-5A31-3641-74A384120E16}"/>
              </a:ext>
            </a:extLst>
          </p:cNvPr>
          <p:cNvSpPr>
            <a:spLocks noGrp="1"/>
          </p:cNvSpPr>
          <p:nvPr>
            <p:ph type="body" idx="1" hasCustomPrompt="1"/>
          </p:nvPr>
        </p:nvSpPr>
        <p:spPr>
          <a:xfrm>
            <a:off x="484895" y="1211151"/>
            <a:ext cx="5404628" cy="1387614"/>
          </a:xfrm>
          <a:solidFill>
            <a:schemeClr val="accent3"/>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
        <p:nvSpPr>
          <p:cNvPr id="5" name="Text Placeholder 4">
            <a:extLst>
              <a:ext uri="{FF2B5EF4-FFF2-40B4-BE49-F238E27FC236}">
                <a16:creationId xmlns:a16="http://schemas.microsoft.com/office/drawing/2014/main" id="{7B45D118-3439-524A-149A-31A77A527F02}"/>
              </a:ext>
            </a:extLst>
          </p:cNvPr>
          <p:cNvSpPr>
            <a:spLocks noGrp="1"/>
          </p:cNvSpPr>
          <p:nvPr>
            <p:ph type="body" sz="quarter" idx="3" hasCustomPrompt="1"/>
          </p:nvPr>
        </p:nvSpPr>
        <p:spPr>
          <a:xfrm>
            <a:off x="6302479" y="1200533"/>
            <a:ext cx="5409452" cy="1398232"/>
          </a:xfrm>
          <a:solidFill>
            <a:schemeClr val="accent1"/>
          </a:solidFill>
          <a:effectLst>
            <a:outerShdw blurRad="127000" sx="102000" sy="102000" algn="ctr" rotWithShape="0">
              <a:prstClr val="black">
                <a:alpha val="10000"/>
              </a:prstClr>
            </a:outerShdw>
          </a:effectLst>
        </p:spPr>
        <p:txBody>
          <a:bodyPr lIns="180000" tIns="180000" rIns="180000" bIns="180000" anchor="ctr"/>
          <a:lstStyle>
            <a:lvl1pPr marL="0" indent="0" algn="ctr">
              <a:spcBef>
                <a:spcPts val="0"/>
              </a:spcBef>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spTree>
    <p:custDataLst>
      <p:tags r:id="rId1"/>
    </p:custDataLst>
    <p:extLst>
      <p:ext uri="{BB962C8B-B14F-4D97-AF65-F5344CB8AC3E}">
        <p14:creationId xmlns:p14="http://schemas.microsoft.com/office/powerpoint/2010/main" val="87935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2"/>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3"/>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7059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US"/>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US"/>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45482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 Text Boxes With Icons">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DBAE55-5038-A71E-1BFE-E5EA5A501A62}"/>
              </a:ext>
            </a:extLst>
          </p:cNvPr>
          <p:cNvGraphicFramePr>
            <a:graphicFrameLocks noChangeAspect="1"/>
          </p:cNvGraphicFramePr>
          <p:nvPr>
            <p:custDataLst>
              <p:tags r:id="rId2"/>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D6DBAE55-5038-A71E-1BFE-E5EA5A501A6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84F872-231B-404B-BC83-AA7F1D8E3DFC}"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60" name="Text Placeholder 5">
            <a:extLst>
              <a:ext uri="{FF2B5EF4-FFF2-40B4-BE49-F238E27FC236}">
                <a16:creationId xmlns:a16="http://schemas.microsoft.com/office/drawing/2014/main" id="{5169C46F-FA5C-FDB2-CFFF-525B81688CD9}"/>
              </a:ext>
            </a:extLst>
          </p:cNvPr>
          <p:cNvSpPr>
            <a:spLocks noGrp="1"/>
          </p:cNvSpPr>
          <p:nvPr>
            <p:ph type="body" sz="quarter" idx="25" hasCustomPrompt="1"/>
          </p:nvPr>
        </p:nvSpPr>
        <p:spPr>
          <a:xfrm>
            <a:off x="949124"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1" name="Text Placeholder 5">
            <a:extLst>
              <a:ext uri="{FF2B5EF4-FFF2-40B4-BE49-F238E27FC236}">
                <a16:creationId xmlns:a16="http://schemas.microsoft.com/office/drawing/2014/main" id="{BCD38710-288A-3EF4-BFF2-514B609E0208}"/>
              </a:ext>
            </a:extLst>
          </p:cNvPr>
          <p:cNvSpPr>
            <a:spLocks noGrp="1"/>
          </p:cNvSpPr>
          <p:nvPr>
            <p:ph type="body" sz="quarter" idx="26" hasCustomPrompt="1"/>
          </p:nvPr>
        </p:nvSpPr>
        <p:spPr>
          <a:xfrm>
            <a:off x="949124"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62" name="Text Placeholder 5">
            <a:extLst>
              <a:ext uri="{FF2B5EF4-FFF2-40B4-BE49-F238E27FC236}">
                <a16:creationId xmlns:a16="http://schemas.microsoft.com/office/drawing/2014/main" id="{450F5F36-270D-9298-4541-1A62B77A4AE4}"/>
              </a:ext>
            </a:extLst>
          </p:cNvPr>
          <p:cNvSpPr>
            <a:spLocks noGrp="1"/>
          </p:cNvSpPr>
          <p:nvPr>
            <p:ph type="body" sz="quarter" idx="27" hasCustomPrompt="1"/>
          </p:nvPr>
        </p:nvSpPr>
        <p:spPr>
          <a:xfrm>
            <a:off x="949124"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70" name="Text Placeholder 5">
            <a:extLst>
              <a:ext uri="{FF2B5EF4-FFF2-40B4-BE49-F238E27FC236}">
                <a16:creationId xmlns:a16="http://schemas.microsoft.com/office/drawing/2014/main" id="{7CF957E1-8B49-F77E-D143-93C28C2375DD}"/>
              </a:ext>
            </a:extLst>
          </p:cNvPr>
          <p:cNvSpPr>
            <a:spLocks noGrp="1"/>
          </p:cNvSpPr>
          <p:nvPr>
            <p:ph type="body" sz="quarter" idx="31" hasCustomPrompt="1"/>
          </p:nvPr>
        </p:nvSpPr>
        <p:spPr>
          <a:xfrm>
            <a:off x="6767443" y="1567731"/>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1" name="Text Placeholder 5">
            <a:extLst>
              <a:ext uri="{FF2B5EF4-FFF2-40B4-BE49-F238E27FC236}">
                <a16:creationId xmlns:a16="http://schemas.microsoft.com/office/drawing/2014/main" id="{9983F294-C78D-F311-2B60-14EC2EC02A9B}"/>
              </a:ext>
            </a:extLst>
          </p:cNvPr>
          <p:cNvSpPr>
            <a:spLocks noGrp="1"/>
          </p:cNvSpPr>
          <p:nvPr>
            <p:ph type="body" sz="quarter" idx="32" hasCustomPrompt="1"/>
          </p:nvPr>
        </p:nvSpPr>
        <p:spPr>
          <a:xfrm>
            <a:off x="6767443" y="3006733"/>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82" name="Text Placeholder 5">
            <a:extLst>
              <a:ext uri="{FF2B5EF4-FFF2-40B4-BE49-F238E27FC236}">
                <a16:creationId xmlns:a16="http://schemas.microsoft.com/office/drawing/2014/main" id="{F2B56D6D-9031-CECD-C158-22EECA1FA3C0}"/>
              </a:ext>
            </a:extLst>
          </p:cNvPr>
          <p:cNvSpPr>
            <a:spLocks noGrp="1"/>
          </p:cNvSpPr>
          <p:nvPr>
            <p:ph type="body" sz="quarter" idx="33" hasCustomPrompt="1"/>
          </p:nvPr>
        </p:nvSpPr>
        <p:spPr>
          <a:xfrm>
            <a:off x="6767443" y="4445734"/>
            <a:ext cx="4967361" cy="1257248"/>
          </a:xfrm>
          <a:solidFill>
            <a:schemeClr val="bg1"/>
          </a:solidFill>
          <a:effectLst>
            <a:outerShdw blurRad="127000" sx="102000" sy="102000" algn="ctr" rotWithShape="0">
              <a:prstClr val="black">
                <a:alpha val="5000"/>
              </a:prstClr>
            </a:outerShdw>
          </a:effectLst>
        </p:spPr>
        <p:txBody>
          <a:bodyPr lIns="612000" tIns="180000" rIns="180000" b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Press the Reset button to reset formatting.</a:t>
            </a:r>
          </a:p>
        </p:txBody>
      </p:sp>
      <p:sp>
        <p:nvSpPr>
          <p:cNvPr id="11" name="Text Placeholder 10">
            <a:extLst>
              <a:ext uri="{FF2B5EF4-FFF2-40B4-BE49-F238E27FC236}">
                <a16:creationId xmlns:a16="http://schemas.microsoft.com/office/drawing/2014/main" id="{AE85941E-D224-F189-320F-3FF7EF13BBE1}"/>
              </a:ext>
            </a:extLst>
          </p:cNvPr>
          <p:cNvSpPr>
            <a:spLocks noGrp="1"/>
          </p:cNvSpPr>
          <p:nvPr>
            <p:ph type="body" sz="quarter" idx="21" hasCustomPrompt="1"/>
          </p:nvPr>
        </p:nvSpPr>
        <p:spPr>
          <a:xfrm>
            <a:off x="469449" y="1739155"/>
            <a:ext cx="914401" cy="914400"/>
          </a:xfrm>
          <a:prstGeom prst="ellipse">
            <a:avLst/>
          </a:prstGeom>
          <a:solidFill>
            <a:schemeClr val="tx2"/>
          </a:solidFill>
        </p:spPr>
        <p:txBody>
          <a:bodyPr lIns="72000" anchor="ctr" anchorCtr="0"/>
          <a:lstStyle>
            <a:lvl1pPr marL="0" indent="0" algn="ctr">
              <a:buNone/>
              <a:defRPr sz="1200">
                <a:solidFill>
                  <a:schemeClr val="bg1"/>
                </a:solidFill>
              </a:defRPr>
            </a:lvl1pPr>
          </a:lstStyle>
          <a:p>
            <a:pPr lvl="0"/>
            <a:r>
              <a:rPr lang="en-US"/>
              <a:t> </a:t>
            </a:r>
          </a:p>
        </p:txBody>
      </p:sp>
      <p:sp>
        <p:nvSpPr>
          <p:cNvPr id="72" name="Text Placeholder 10">
            <a:extLst>
              <a:ext uri="{FF2B5EF4-FFF2-40B4-BE49-F238E27FC236}">
                <a16:creationId xmlns:a16="http://schemas.microsoft.com/office/drawing/2014/main" id="{9F83768B-18DB-E8E9-F808-8D884FABCE98}"/>
              </a:ext>
            </a:extLst>
          </p:cNvPr>
          <p:cNvSpPr>
            <a:spLocks noGrp="1"/>
          </p:cNvSpPr>
          <p:nvPr>
            <p:ph type="body" sz="quarter" idx="22" hasCustomPrompt="1"/>
          </p:nvPr>
        </p:nvSpPr>
        <p:spPr>
          <a:xfrm>
            <a:off x="457198" y="3178157"/>
            <a:ext cx="914401" cy="914400"/>
          </a:xfrm>
          <a:prstGeom prst="ellipse">
            <a:avLst/>
          </a:prstGeom>
          <a:solidFill>
            <a:schemeClr val="accent1"/>
          </a:solidFill>
        </p:spPr>
        <p:txBody>
          <a:bodyPr lIns="72000" anchor="ctr" anchorCtr="0"/>
          <a:lstStyle>
            <a:lvl1pPr marL="0" indent="0" algn="ctr">
              <a:buNone/>
              <a:defRPr sz="1200">
                <a:solidFill>
                  <a:schemeClr val="bg1"/>
                </a:solidFill>
              </a:defRPr>
            </a:lvl1pPr>
          </a:lstStyle>
          <a:p>
            <a:pPr lvl="0"/>
            <a:r>
              <a:rPr lang="en-US"/>
              <a:t> </a:t>
            </a:r>
          </a:p>
        </p:txBody>
      </p:sp>
      <p:sp>
        <p:nvSpPr>
          <p:cNvPr id="73" name="Text Placeholder 10">
            <a:extLst>
              <a:ext uri="{FF2B5EF4-FFF2-40B4-BE49-F238E27FC236}">
                <a16:creationId xmlns:a16="http://schemas.microsoft.com/office/drawing/2014/main" id="{D5B16333-9BBB-26A5-8416-314065EE7E63}"/>
              </a:ext>
            </a:extLst>
          </p:cNvPr>
          <p:cNvSpPr>
            <a:spLocks noGrp="1"/>
          </p:cNvSpPr>
          <p:nvPr>
            <p:ph type="body" sz="quarter" idx="23" hasCustomPrompt="1"/>
          </p:nvPr>
        </p:nvSpPr>
        <p:spPr>
          <a:xfrm>
            <a:off x="479898" y="4617158"/>
            <a:ext cx="914401" cy="914400"/>
          </a:xfrm>
          <a:prstGeom prst="ellipse">
            <a:avLst/>
          </a:prstGeom>
          <a:solidFill>
            <a:schemeClr val="accent3"/>
          </a:solidFill>
        </p:spPr>
        <p:txBody>
          <a:bodyPr lIns="72000" anchor="ctr" anchorCtr="0"/>
          <a:lstStyle>
            <a:lvl1pPr marL="0" indent="0" algn="ctr">
              <a:buNone/>
              <a:defRPr sz="1200">
                <a:solidFill>
                  <a:schemeClr val="bg1"/>
                </a:solidFill>
              </a:defRPr>
            </a:lvl1pPr>
          </a:lstStyle>
          <a:p>
            <a:pPr lvl="0"/>
            <a:r>
              <a:rPr lang="en-US"/>
              <a:t> </a:t>
            </a:r>
          </a:p>
        </p:txBody>
      </p:sp>
      <p:sp>
        <p:nvSpPr>
          <p:cNvPr id="67" name="Text Placeholder 10">
            <a:extLst>
              <a:ext uri="{FF2B5EF4-FFF2-40B4-BE49-F238E27FC236}">
                <a16:creationId xmlns:a16="http://schemas.microsoft.com/office/drawing/2014/main" id="{18DBA234-5D3E-9879-2ED9-10FFC0523687}"/>
              </a:ext>
            </a:extLst>
          </p:cNvPr>
          <p:cNvSpPr>
            <a:spLocks noGrp="1"/>
          </p:cNvSpPr>
          <p:nvPr>
            <p:ph type="body" sz="quarter" idx="28" hasCustomPrompt="1"/>
          </p:nvPr>
        </p:nvSpPr>
        <p:spPr>
          <a:xfrm>
            <a:off x="6287768" y="1739155"/>
            <a:ext cx="914401" cy="914400"/>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68" name="Text Placeholder 10">
            <a:extLst>
              <a:ext uri="{FF2B5EF4-FFF2-40B4-BE49-F238E27FC236}">
                <a16:creationId xmlns:a16="http://schemas.microsoft.com/office/drawing/2014/main" id="{1B415414-6E1F-BB45-49B8-DBA5AE7EE4BF}"/>
              </a:ext>
            </a:extLst>
          </p:cNvPr>
          <p:cNvSpPr>
            <a:spLocks noGrp="1"/>
          </p:cNvSpPr>
          <p:nvPr>
            <p:ph type="body" sz="quarter" idx="29" hasCustomPrompt="1"/>
          </p:nvPr>
        </p:nvSpPr>
        <p:spPr>
          <a:xfrm>
            <a:off x="6275517" y="3178157"/>
            <a:ext cx="914401" cy="914400"/>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69" name="Text Placeholder 10">
            <a:extLst>
              <a:ext uri="{FF2B5EF4-FFF2-40B4-BE49-F238E27FC236}">
                <a16:creationId xmlns:a16="http://schemas.microsoft.com/office/drawing/2014/main" id="{88347BEB-350C-8056-476C-FE07FA497A2A}"/>
              </a:ext>
            </a:extLst>
          </p:cNvPr>
          <p:cNvSpPr>
            <a:spLocks noGrp="1"/>
          </p:cNvSpPr>
          <p:nvPr>
            <p:ph type="body" sz="quarter" idx="30" hasCustomPrompt="1"/>
          </p:nvPr>
        </p:nvSpPr>
        <p:spPr>
          <a:xfrm>
            <a:off x="6298217" y="4617158"/>
            <a:ext cx="914401" cy="914400"/>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19" name="Object 18" hidden="1">
            <a:extLst>
              <a:ext uri="{FF2B5EF4-FFF2-40B4-BE49-F238E27FC236}">
                <a16:creationId xmlns:a16="http://schemas.microsoft.com/office/drawing/2014/main" id="{BE721525-958D-0711-C9FF-1674413C644B}"/>
              </a:ext>
            </a:extLst>
          </p:cNvPr>
          <p:cNvGraphicFramePr>
            <a:graphicFrameLocks noChangeAspect="1"/>
          </p:cNvGraphicFramePr>
          <p:nvPr userDrawn="1">
            <p:custDataLst>
              <p:tags r:id="rId3"/>
            </p:custDataLst>
            <p:extLst>
              <p:ext uri="{D42A27DB-BD31-4B8C-83A1-F6EECF244321}">
                <p14:modId xmlns:p14="http://schemas.microsoft.com/office/powerpoint/2010/main" val="208110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9" name="Object 18" hidden="1">
                        <a:extLst>
                          <a:ext uri="{FF2B5EF4-FFF2-40B4-BE49-F238E27FC236}">
                            <a16:creationId xmlns:a16="http://schemas.microsoft.com/office/drawing/2014/main" id="{BE721525-958D-0711-C9FF-1674413C64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73729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Columns ">
    <p:bg>
      <p:bgPr>
        <a:solidFill>
          <a:schemeClr val="bg1"/>
        </a:solidFill>
        <a:effectLst/>
      </p:bgPr>
    </p:bg>
    <p:spTree>
      <p:nvGrpSpPr>
        <p:cNvPr id="1" name=""/>
        <p:cNvGrpSpPr/>
        <p:nvPr/>
      </p:nvGrpSpPr>
      <p:grpSpPr>
        <a:xfrm>
          <a:off x="0" y="0"/>
          <a:ext cx="0" cy="0"/>
          <a:chOff x="0" y="0"/>
          <a:chExt cx="0" cy="0"/>
        </a:xfrm>
      </p:grpSpPr>
      <p:graphicFrame>
        <p:nvGraphicFramePr>
          <p:cNvPr id="33" name="Object 32" hidden="1">
            <a:extLst>
              <a:ext uri="{FF2B5EF4-FFF2-40B4-BE49-F238E27FC236}">
                <a16:creationId xmlns:a16="http://schemas.microsoft.com/office/drawing/2014/main" id="{354849FB-7880-754B-B1A2-A01EBF94B4A4}"/>
              </a:ext>
            </a:extLst>
          </p:cNvPr>
          <p:cNvGraphicFramePr>
            <a:graphicFrameLocks noChangeAspect="1"/>
          </p:cNvGraphicFramePr>
          <p:nvPr>
            <p:custDataLst>
              <p:tags r:id="rId2"/>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33" name="Object 32" hidden="1">
                        <a:extLst>
                          <a:ext uri="{FF2B5EF4-FFF2-40B4-BE49-F238E27FC236}">
                            <a16:creationId xmlns:a16="http://schemas.microsoft.com/office/drawing/2014/main" id="{354849FB-7880-754B-B1A2-A01EBF94B4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E5A68AF4-B91E-4F8A-B832-7605C397C571}"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GB"/>
              <a:t>Click to edit Master title style</a:t>
            </a:r>
            <a:endParaRPr lang="en-US"/>
          </a:p>
        </p:txBody>
      </p:sp>
      <p:sp>
        <p:nvSpPr>
          <p:cNvPr id="8" name="Rectangle: Top Corners Rounded 7">
            <a:extLst>
              <a:ext uri="{FF2B5EF4-FFF2-40B4-BE49-F238E27FC236}">
                <a16:creationId xmlns:a16="http://schemas.microsoft.com/office/drawing/2014/main" id="{39A2EA8D-1766-E50B-8696-368C1D93B722}"/>
              </a:ext>
            </a:extLst>
          </p:cNvPr>
          <p:cNvSpPr/>
          <p:nvPr userDrawn="1"/>
        </p:nvSpPr>
        <p:spPr>
          <a:xfrm>
            <a:off x="457200" y="1196975"/>
            <a:ext cx="3519310" cy="4895849"/>
          </a:xfrm>
          <a:prstGeom prst="round2SameRect">
            <a:avLst>
              <a:gd name="adj1" fmla="val 0"/>
              <a:gd name="adj2" fmla="val 10337"/>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Top Corners Rounded 8">
            <a:extLst>
              <a:ext uri="{FF2B5EF4-FFF2-40B4-BE49-F238E27FC236}">
                <a16:creationId xmlns:a16="http://schemas.microsoft.com/office/drawing/2014/main" id="{A425AD10-227B-8E04-8A8D-B0739173729D}"/>
              </a:ext>
            </a:extLst>
          </p:cNvPr>
          <p:cNvSpPr>
            <a:spLocks/>
          </p:cNvSpPr>
          <p:nvPr/>
        </p:nvSpPr>
        <p:spPr>
          <a:xfrm>
            <a:off x="4336344" y="1194017"/>
            <a:ext cx="3519310" cy="4898875"/>
          </a:xfrm>
          <a:prstGeom prst="round2SameRect">
            <a:avLst>
              <a:gd name="adj1" fmla="val 0"/>
              <a:gd name="adj2" fmla="val 10896"/>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Top Corners Rounded 9">
            <a:extLst>
              <a:ext uri="{FF2B5EF4-FFF2-40B4-BE49-F238E27FC236}">
                <a16:creationId xmlns:a16="http://schemas.microsoft.com/office/drawing/2014/main" id="{7B056210-DB66-55B3-1A4A-3BCBC562C14B}"/>
              </a:ext>
            </a:extLst>
          </p:cNvPr>
          <p:cNvSpPr>
            <a:spLocks/>
          </p:cNvSpPr>
          <p:nvPr/>
        </p:nvSpPr>
        <p:spPr>
          <a:xfrm>
            <a:off x="8215489" y="1196975"/>
            <a:ext cx="3519310" cy="4895849"/>
          </a:xfrm>
          <a:prstGeom prst="round2SameRect">
            <a:avLst>
              <a:gd name="adj1" fmla="val 0"/>
              <a:gd name="adj2" fmla="val 9778"/>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2FCF950-4CCB-0347-EF69-BB858B145DEB}"/>
              </a:ext>
            </a:extLst>
          </p:cNvPr>
          <p:cNvGrpSpPr/>
          <p:nvPr/>
        </p:nvGrpSpPr>
        <p:grpSpPr>
          <a:xfrm>
            <a:off x="626560" y="769621"/>
            <a:ext cx="3180589" cy="1662581"/>
            <a:chOff x="2800469" y="-917156"/>
            <a:chExt cx="6696862" cy="3500633"/>
          </a:xfrm>
          <a:solidFill>
            <a:schemeClr val="bg1">
              <a:alpha val="10000"/>
            </a:schemeClr>
          </a:solidFill>
        </p:grpSpPr>
        <p:sp>
          <p:nvSpPr>
            <p:cNvPr id="12" name="Freeform: Shape 11">
              <a:extLst>
                <a:ext uri="{FF2B5EF4-FFF2-40B4-BE49-F238E27FC236}">
                  <a16:creationId xmlns:a16="http://schemas.microsoft.com/office/drawing/2014/main" id="{D871F47F-5158-3FE0-79DA-37B148B0B1ED}"/>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3" name="Freeform: Shape 12">
              <a:extLst>
                <a:ext uri="{FF2B5EF4-FFF2-40B4-BE49-F238E27FC236}">
                  <a16:creationId xmlns:a16="http://schemas.microsoft.com/office/drawing/2014/main" id="{15DBBD0B-CA2C-D826-645F-E1EDD7AD23D7}"/>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4" name="Freeform: Shape 13">
              <a:extLst>
                <a:ext uri="{FF2B5EF4-FFF2-40B4-BE49-F238E27FC236}">
                  <a16:creationId xmlns:a16="http://schemas.microsoft.com/office/drawing/2014/main" id="{38CB18EA-79DF-AF8A-97E3-9265EF03EAC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5" name="Freeform: Shape 14">
              <a:extLst>
                <a:ext uri="{FF2B5EF4-FFF2-40B4-BE49-F238E27FC236}">
                  <a16:creationId xmlns:a16="http://schemas.microsoft.com/office/drawing/2014/main" id="{00F0287F-2833-16C0-91B6-054563104BD8}"/>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6" name="Freeform: Shape 15">
              <a:extLst>
                <a:ext uri="{FF2B5EF4-FFF2-40B4-BE49-F238E27FC236}">
                  <a16:creationId xmlns:a16="http://schemas.microsoft.com/office/drawing/2014/main" id="{71A0D784-F128-E8B6-45BC-A86BC363E4E7}"/>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97500270-7B64-78E1-F7BF-19F85C7B3826}"/>
              </a:ext>
            </a:extLst>
          </p:cNvPr>
          <p:cNvGrpSpPr/>
          <p:nvPr/>
        </p:nvGrpSpPr>
        <p:grpSpPr>
          <a:xfrm>
            <a:off x="4505704" y="762150"/>
            <a:ext cx="3180589" cy="1662581"/>
            <a:chOff x="2800469" y="-917156"/>
            <a:chExt cx="6696862" cy="3500633"/>
          </a:xfrm>
          <a:solidFill>
            <a:schemeClr val="bg1">
              <a:alpha val="10000"/>
            </a:schemeClr>
          </a:solidFill>
        </p:grpSpPr>
        <p:sp>
          <p:nvSpPr>
            <p:cNvPr id="18" name="Freeform: Shape 17">
              <a:extLst>
                <a:ext uri="{FF2B5EF4-FFF2-40B4-BE49-F238E27FC236}">
                  <a16:creationId xmlns:a16="http://schemas.microsoft.com/office/drawing/2014/main" id="{B1646F36-6AFB-5C39-7ADF-989EBD05691E}"/>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19" name="Freeform: Shape 18">
              <a:extLst>
                <a:ext uri="{FF2B5EF4-FFF2-40B4-BE49-F238E27FC236}">
                  <a16:creationId xmlns:a16="http://schemas.microsoft.com/office/drawing/2014/main" id="{AEA37A41-4F6B-CFC6-13C2-46BB5A1CFC44}"/>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0" name="Freeform: Shape 19">
              <a:extLst>
                <a:ext uri="{FF2B5EF4-FFF2-40B4-BE49-F238E27FC236}">
                  <a16:creationId xmlns:a16="http://schemas.microsoft.com/office/drawing/2014/main" id="{DE9A3A56-D1D8-7EFA-EFFA-8669790F7B9D}"/>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1" name="Freeform: Shape 20">
              <a:extLst>
                <a:ext uri="{FF2B5EF4-FFF2-40B4-BE49-F238E27FC236}">
                  <a16:creationId xmlns:a16="http://schemas.microsoft.com/office/drawing/2014/main" id="{8FF24C39-F8AF-EF5A-BAC1-F33676EA20DB}"/>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2" name="Freeform: Shape 21">
              <a:extLst>
                <a:ext uri="{FF2B5EF4-FFF2-40B4-BE49-F238E27FC236}">
                  <a16:creationId xmlns:a16="http://schemas.microsoft.com/office/drawing/2014/main" id="{9D2881E8-ECA8-343D-1A8E-D8425FD9C4EC}"/>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23" name="Group 22">
            <a:extLst>
              <a:ext uri="{FF2B5EF4-FFF2-40B4-BE49-F238E27FC236}">
                <a16:creationId xmlns:a16="http://schemas.microsoft.com/office/drawing/2014/main" id="{63E9CB13-E5BD-75D0-4B11-B298E424040E}"/>
              </a:ext>
            </a:extLst>
          </p:cNvPr>
          <p:cNvGrpSpPr/>
          <p:nvPr/>
        </p:nvGrpSpPr>
        <p:grpSpPr>
          <a:xfrm>
            <a:off x="8384850" y="769620"/>
            <a:ext cx="3180589" cy="1662581"/>
            <a:chOff x="2800469" y="-917156"/>
            <a:chExt cx="6696862" cy="3500633"/>
          </a:xfrm>
          <a:solidFill>
            <a:schemeClr val="bg1">
              <a:alpha val="10000"/>
            </a:schemeClr>
          </a:solidFill>
        </p:grpSpPr>
        <p:sp>
          <p:nvSpPr>
            <p:cNvPr id="24" name="Freeform: Shape 23">
              <a:extLst>
                <a:ext uri="{FF2B5EF4-FFF2-40B4-BE49-F238E27FC236}">
                  <a16:creationId xmlns:a16="http://schemas.microsoft.com/office/drawing/2014/main" id="{22D221A5-D2FE-5EEC-BBA4-5CDFCE5B76DB}"/>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5" name="Freeform: Shape 24">
              <a:extLst>
                <a:ext uri="{FF2B5EF4-FFF2-40B4-BE49-F238E27FC236}">
                  <a16:creationId xmlns:a16="http://schemas.microsoft.com/office/drawing/2014/main" id="{5188C425-746E-CBF8-CD22-DA4F1662334B}"/>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6" name="Freeform: Shape 25">
              <a:extLst>
                <a:ext uri="{FF2B5EF4-FFF2-40B4-BE49-F238E27FC236}">
                  <a16:creationId xmlns:a16="http://schemas.microsoft.com/office/drawing/2014/main" id="{D46A2352-05BF-19F9-18D3-76D1A0EA283E}"/>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29" name="Freeform: Shape 28">
              <a:extLst>
                <a:ext uri="{FF2B5EF4-FFF2-40B4-BE49-F238E27FC236}">
                  <a16:creationId xmlns:a16="http://schemas.microsoft.com/office/drawing/2014/main" id="{05E574C3-2BCE-A362-669E-BFD6B00D8BC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0" name="Freeform: Shape 29">
              <a:extLst>
                <a:ext uri="{FF2B5EF4-FFF2-40B4-BE49-F238E27FC236}">
                  <a16:creationId xmlns:a16="http://schemas.microsoft.com/office/drawing/2014/main" id="{24BC7484-0ED2-5E84-3C7F-1189F7F9CFE8}"/>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87451"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4566595" y="3052861"/>
            <a:ext cx="3058808" cy="2808287"/>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8435094" y="3050169"/>
            <a:ext cx="3069454" cy="2810980"/>
          </a:xfrm>
        </p:spPr>
        <p:txBody>
          <a:bodyPr anchor="ctr"/>
          <a:lstStyle>
            <a:lvl1pPr>
              <a:buClr>
                <a:schemeClr val="bg1"/>
              </a:buClr>
              <a:defRPr sz="2400">
                <a:solidFill>
                  <a:schemeClr val="bg1"/>
                </a:solidFill>
              </a:defRPr>
            </a:lvl1pPr>
            <a:lvl2pPr>
              <a:buClr>
                <a:schemeClr val="bg1"/>
              </a:buClr>
              <a:defRPr sz="2400">
                <a:solidFill>
                  <a:schemeClr val="bg1"/>
                </a:solidFill>
              </a:defRPr>
            </a:lvl2pPr>
            <a:lvl3pPr>
              <a:buClr>
                <a:schemeClr val="bg1"/>
              </a:buClr>
              <a:defRPr sz="2000">
                <a:solidFill>
                  <a:schemeClr val="bg1"/>
                </a:solidFill>
              </a:defRPr>
            </a:lvl3pPr>
            <a:lvl4pPr>
              <a:buClr>
                <a:schemeClr val="bg1"/>
              </a:buClr>
              <a:defRPr sz="1800">
                <a:solidFill>
                  <a:schemeClr val="bg1"/>
                </a:solidFill>
              </a:defRPr>
            </a:lvl4pPr>
            <a:lvl5pPr>
              <a:buClr>
                <a:schemeClr val="bg1"/>
              </a:buClr>
              <a:defRPr sz="14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87451" y="1437855"/>
            <a:ext cx="3069447" cy="1379001"/>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4590998" y="1429587"/>
            <a:ext cx="3069447" cy="1387969"/>
          </a:xfrm>
        </p:spPr>
        <p:txBody>
          <a:bodyPr lIns="72000" anchor="ctr" anchorCtr="0"/>
          <a:lstStyle>
            <a:lvl1pPr marL="0" indent="0" algn="ctr">
              <a:spcBef>
                <a:spcPts val="0"/>
              </a:spcBef>
              <a:buNone/>
              <a:defRPr sz="2400" b="1">
                <a:solidFill>
                  <a:schemeClr val="bg1"/>
                </a:solidFill>
              </a:defRPr>
            </a:lvl1pPr>
          </a:lstStyle>
          <a:p>
            <a:pPr lvl="0"/>
            <a:r>
              <a:rPr lang="en-US"/>
              <a:t>Title here. Keep text short and stay within the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8435094" y="1429587"/>
            <a:ext cx="3069447" cy="1387969"/>
          </a:xfrm>
        </p:spPr>
        <p:txBody>
          <a:bodyPr lIns="72000" anchor="ctr" anchorCtr="0"/>
          <a:lstStyle>
            <a:lvl1pPr marL="0" indent="0" algn="ctr" rtl="0">
              <a:spcBef>
                <a:spcPts val="0"/>
              </a:spcBef>
              <a:buNone/>
              <a:defRPr sz="2400" b="1">
                <a:solidFill>
                  <a:schemeClr val="bg1"/>
                </a:solidFill>
              </a:defRPr>
            </a:lvl1pPr>
          </a:lstStyle>
          <a:p>
            <a:pPr lvl="0"/>
            <a:r>
              <a:rPr lang="en-US"/>
              <a:t>Title here. Keep text short and stay within the text box.</a:t>
            </a:r>
          </a:p>
        </p:txBody>
      </p:sp>
      <p:graphicFrame>
        <p:nvGraphicFramePr>
          <p:cNvPr id="35" name="Object 34" hidden="1">
            <a:extLst>
              <a:ext uri="{FF2B5EF4-FFF2-40B4-BE49-F238E27FC236}">
                <a16:creationId xmlns:a16="http://schemas.microsoft.com/office/drawing/2014/main" id="{978FE9BC-D6D0-FF29-76D4-C4241B770A16}"/>
              </a:ext>
            </a:extLst>
          </p:cNvPr>
          <p:cNvGraphicFramePr>
            <a:graphicFrameLocks noChangeAspect="1"/>
          </p:cNvGraphicFramePr>
          <p:nvPr userDrawn="1">
            <p:custDataLst>
              <p:tags r:id="rId3"/>
            </p:custDataLst>
            <p:extLst>
              <p:ext uri="{D42A27DB-BD31-4B8C-83A1-F6EECF244321}">
                <p14:modId xmlns:p14="http://schemas.microsoft.com/office/powerpoint/2010/main" val="1620306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35" name="Object 34" hidden="1">
                        <a:extLst>
                          <a:ext uri="{FF2B5EF4-FFF2-40B4-BE49-F238E27FC236}">
                            <a16:creationId xmlns:a16="http://schemas.microsoft.com/office/drawing/2014/main" id="{978FE9BC-D6D0-FF29-76D4-C4241B770A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47059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0 text boxes_ With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D7EF97AA-1EDA-4656-8346-82207E7754CC}"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32" name="Text Placeholder 5">
            <a:extLst>
              <a:ext uri="{FF2B5EF4-FFF2-40B4-BE49-F238E27FC236}">
                <a16:creationId xmlns:a16="http://schemas.microsoft.com/office/drawing/2014/main" id="{4D46DB00-C779-6B63-C452-6455D2585FB3}"/>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3" name="Text Placeholder 5">
            <a:extLst>
              <a:ext uri="{FF2B5EF4-FFF2-40B4-BE49-F238E27FC236}">
                <a16:creationId xmlns:a16="http://schemas.microsoft.com/office/drawing/2014/main" id="{73737973-0DA2-58C0-543B-C79C1A692676}"/>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4" name="Text Placeholder 5">
            <a:extLst>
              <a:ext uri="{FF2B5EF4-FFF2-40B4-BE49-F238E27FC236}">
                <a16:creationId xmlns:a16="http://schemas.microsoft.com/office/drawing/2014/main" id="{6C9B3AF7-477F-26D4-3A5C-D792D67D57F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5" name="Text Placeholder 5">
            <a:extLst>
              <a:ext uri="{FF2B5EF4-FFF2-40B4-BE49-F238E27FC236}">
                <a16:creationId xmlns:a16="http://schemas.microsoft.com/office/drawing/2014/main" id="{D3A28C45-863D-0FC3-9D52-D3E3316D02DC}"/>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6" name="Text Placeholder 5">
            <a:extLst>
              <a:ext uri="{FF2B5EF4-FFF2-40B4-BE49-F238E27FC236}">
                <a16:creationId xmlns:a16="http://schemas.microsoft.com/office/drawing/2014/main" id="{565DC5BE-A0D1-E87E-F760-B1C78D790377}"/>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7" name="Text Placeholder 5">
            <a:extLst>
              <a:ext uri="{FF2B5EF4-FFF2-40B4-BE49-F238E27FC236}">
                <a16:creationId xmlns:a16="http://schemas.microsoft.com/office/drawing/2014/main" id="{02271B4C-4CBD-ECA0-AB80-9BC5D767FC9A}"/>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8" name="Text Placeholder 5">
            <a:extLst>
              <a:ext uri="{FF2B5EF4-FFF2-40B4-BE49-F238E27FC236}">
                <a16:creationId xmlns:a16="http://schemas.microsoft.com/office/drawing/2014/main" id="{B1C3FF77-8AED-031E-F635-C99BA11FBD46}"/>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39" name="Text Placeholder 5">
            <a:extLst>
              <a:ext uri="{FF2B5EF4-FFF2-40B4-BE49-F238E27FC236}">
                <a16:creationId xmlns:a16="http://schemas.microsoft.com/office/drawing/2014/main" id="{9D67BAC5-252C-7E86-03D1-8CE6EA71E2F9}"/>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0" name="Text Placeholder 5">
            <a:extLst>
              <a:ext uri="{FF2B5EF4-FFF2-40B4-BE49-F238E27FC236}">
                <a16:creationId xmlns:a16="http://schemas.microsoft.com/office/drawing/2014/main" id="{3688F1B9-52C8-DD75-3F43-70BE7FDDB8E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41" name="Text Placeholder 5">
            <a:extLst>
              <a:ext uri="{FF2B5EF4-FFF2-40B4-BE49-F238E27FC236}">
                <a16:creationId xmlns:a16="http://schemas.microsoft.com/office/drawing/2014/main" id="{67CD79D8-3B39-8726-C0B7-EE7DE0297FC9}"/>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10">
            <a:extLst>
              <a:ext uri="{FF2B5EF4-FFF2-40B4-BE49-F238E27FC236}">
                <a16:creationId xmlns:a16="http://schemas.microsoft.com/office/drawing/2014/main" id="{2A62B67A-3B99-D9B9-21DF-C131248776FB}"/>
              </a:ext>
            </a:extLst>
          </p:cNvPr>
          <p:cNvSpPr>
            <a:spLocks noGrp="1"/>
          </p:cNvSpPr>
          <p:nvPr>
            <p:ph type="body" sz="quarter" idx="24" hasCustomPrompt="1"/>
          </p:nvPr>
        </p:nvSpPr>
        <p:spPr>
          <a:xfrm>
            <a:off x="457200"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3" name="Text Placeholder 10">
            <a:extLst>
              <a:ext uri="{FF2B5EF4-FFF2-40B4-BE49-F238E27FC236}">
                <a16:creationId xmlns:a16="http://schemas.microsoft.com/office/drawing/2014/main" id="{F96575A4-D81D-B153-4CFF-AA9FC63C457C}"/>
              </a:ext>
            </a:extLst>
          </p:cNvPr>
          <p:cNvSpPr>
            <a:spLocks noGrp="1"/>
          </p:cNvSpPr>
          <p:nvPr>
            <p:ph type="body" sz="quarter" idx="25" hasCustomPrompt="1"/>
          </p:nvPr>
        </p:nvSpPr>
        <p:spPr>
          <a:xfrm>
            <a:off x="6213884" y="1321228"/>
            <a:ext cx="716280" cy="716279"/>
          </a:xfrm>
          <a:prstGeom prst="ellipse">
            <a:avLst/>
          </a:prstGeom>
          <a:solidFill>
            <a:schemeClr val="tx2"/>
          </a:solidFill>
        </p:spPr>
        <p:txBody>
          <a:bodyPr lIns="72000" anchor="ctr" anchorCtr="0"/>
          <a:lstStyle>
            <a:lvl1pPr marL="0" indent="0" algn="ctr" rtl="0">
              <a:buNone/>
              <a:defRPr sz="1200">
                <a:solidFill>
                  <a:schemeClr val="bg1"/>
                </a:solidFill>
              </a:defRPr>
            </a:lvl1pPr>
          </a:lstStyle>
          <a:p>
            <a:pPr lvl="0"/>
            <a:r>
              <a:rPr lang="en-US"/>
              <a:t> </a:t>
            </a:r>
          </a:p>
        </p:txBody>
      </p:sp>
      <p:sp>
        <p:nvSpPr>
          <p:cNvPr id="24" name="Text Placeholder 10">
            <a:extLst>
              <a:ext uri="{FF2B5EF4-FFF2-40B4-BE49-F238E27FC236}">
                <a16:creationId xmlns:a16="http://schemas.microsoft.com/office/drawing/2014/main" id="{B9C90CCD-4209-561C-590D-A266D87699F0}"/>
              </a:ext>
            </a:extLst>
          </p:cNvPr>
          <p:cNvSpPr>
            <a:spLocks noGrp="1"/>
          </p:cNvSpPr>
          <p:nvPr>
            <p:ph type="body" sz="quarter" idx="26" hasCustomPrompt="1"/>
          </p:nvPr>
        </p:nvSpPr>
        <p:spPr>
          <a:xfrm>
            <a:off x="457200"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5" name="Text Placeholder 10">
            <a:extLst>
              <a:ext uri="{FF2B5EF4-FFF2-40B4-BE49-F238E27FC236}">
                <a16:creationId xmlns:a16="http://schemas.microsoft.com/office/drawing/2014/main" id="{E277722E-A075-7816-4D5C-F093A0EF0687}"/>
              </a:ext>
            </a:extLst>
          </p:cNvPr>
          <p:cNvSpPr>
            <a:spLocks noGrp="1"/>
          </p:cNvSpPr>
          <p:nvPr>
            <p:ph type="body" sz="quarter" idx="27" hasCustomPrompt="1"/>
          </p:nvPr>
        </p:nvSpPr>
        <p:spPr>
          <a:xfrm>
            <a:off x="6213884" y="2301741"/>
            <a:ext cx="716280" cy="716279"/>
          </a:xfrm>
          <a:prstGeom prst="ellipse">
            <a:avLst/>
          </a:prstGeom>
          <a:solidFill>
            <a:schemeClr val="accent1"/>
          </a:solidFill>
        </p:spPr>
        <p:txBody>
          <a:bodyPr lIns="72000" anchor="ctr" anchorCtr="0"/>
          <a:lstStyle>
            <a:lvl1pPr marL="0" indent="0" algn="ctr" rtl="0">
              <a:buNone/>
              <a:defRPr sz="1200">
                <a:solidFill>
                  <a:schemeClr val="bg1"/>
                </a:solidFill>
              </a:defRPr>
            </a:lvl1pPr>
          </a:lstStyle>
          <a:p>
            <a:pPr lvl="0"/>
            <a:r>
              <a:rPr lang="en-US"/>
              <a:t> </a:t>
            </a:r>
          </a:p>
        </p:txBody>
      </p:sp>
      <p:sp>
        <p:nvSpPr>
          <p:cNvPr id="26" name="Text Placeholder 10">
            <a:extLst>
              <a:ext uri="{FF2B5EF4-FFF2-40B4-BE49-F238E27FC236}">
                <a16:creationId xmlns:a16="http://schemas.microsoft.com/office/drawing/2014/main" id="{64807AF5-1D72-316C-1AA0-1B51A0493A9C}"/>
              </a:ext>
            </a:extLst>
          </p:cNvPr>
          <p:cNvSpPr>
            <a:spLocks noGrp="1"/>
          </p:cNvSpPr>
          <p:nvPr>
            <p:ph type="body" sz="quarter" idx="28" hasCustomPrompt="1"/>
          </p:nvPr>
        </p:nvSpPr>
        <p:spPr>
          <a:xfrm>
            <a:off x="457200"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7" name="Text Placeholder 10">
            <a:extLst>
              <a:ext uri="{FF2B5EF4-FFF2-40B4-BE49-F238E27FC236}">
                <a16:creationId xmlns:a16="http://schemas.microsoft.com/office/drawing/2014/main" id="{9DEBCF67-D420-E3AD-BB90-2F682394357C}"/>
              </a:ext>
            </a:extLst>
          </p:cNvPr>
          <p:cNvSpPr>
            <a:spLocks noGrp="1"/>
          </p:cNvSpPr>
          <p:nvPr>
            <p:ph type="body" sz="quarter" idx="29" hasCustomPrompt="1"/>
          </p:nvPr>
        </p:nvSpPr>
        <p:spPr>
          <a:xfrm>
            <a:off x="6213884" y="3282255"/>
            <a:ext cx="716280" cy="716279"/>
          </a:xfrm>
          <a:prstGeom prst="ellipse">
            <a:avLst/>
          </a:prstGeom>
          <a:solidFill>
            <a:schemeClr val="accent3"/>
          </a:solidFill>
        </p:spPr>
        <p:txBody>
          <a:bodyPr lIns="72000" anchor="ctr" anchorCtr="0"/>
          <a:lstStyle>
            <a:lvl1pPr marL="0" indent="0" algn="ctr" rtl="0">
              <a:buNone/>
              <a:defRPr sz="1200">
                <a:solidFill>
                  <a:schemeClr val="bg1"/>
                </a:solidFill>
              </a:defRPr>
            </a:lvl1pPr>
          </a:lstStyle>
          <a:p>
            <a:pPr lvl="0"/>
            <a:r>
              <a:rPr lang="en-US"/>
              <a:t> </a:t>
            </a:r>
          </a:p>
        </p:txBody>
      </p:sp>
      <p:sp>
        <p:nvSpPr>
          <p:cNvPr id="28" name="Text Placeholder 10">
            <a:extLst>
              <a:ext uri="{FF2B5EF4-FFF2-40B4-BE49-F238E27FC236}">
                <a16:creationId xmlns:a16="http://schemas.microsoft.com/office/drawing/2014/main" id="{5C4BFD44-8209-5FD4-9418-44051DA24D7F}"/>
              </a:ext>
            </a:extLst>
          </p:cNvPr>
          <p:cNvSpPr>
            <a:spLocks noGrp="1"/>
          </p:cNvSpPr>
          <p:nvPr>
            <p:ph type="body" sz="quarter" idx="30" hasCustomPrompt="1"/>
          </p:nvPr>
        </p:nvSpPr>
        <p:spPr>
          <a:xfrm>
            <a:off x="457200"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29" name="Text Placeholder 10">
            <a:extLst>
              <a:ext uri="{FF2B5EF4-FFF2-40B4-BE49-F238E27FC236}">
                <a16:creationId xmlns:a16="http://schemas.microsoft.com/office/drawing/2014/main" id="{C180DFD0-DAA4-34AA-C3D1-02D4B9A044AE}"/>
              </a:ext>
            </a:extLst>
          </p:cNvPr>
          <p:cNvSpPr>
            <a:spLocks noGrp="1"/>
          </p:cNvSpPr>
          <p:nvPr>
            <p:ph type="body" sz="quarter" idx="31" hasCustomPrompt="1"/>
          </p:nvPr>
        </p:nvSpPr>
        <p:spPr>
          <a:xfrm>
            <a:off x="6213884" y="4262770"/>
            <a:ext cx="716280" cy="716279"/>
          </a:xfrm>
          <a:prstGeom prst="ellipse">
            <a:avLst/>
          </a:prstGeom>
          <a:solidFill>
            <a:schemeClr val="accent4"/>
          </a:solidFill>
        </p:spPr>
        <p:txBody>
          <a:bodyPr lIns="72000" anchor="ctr" anchorCtr="0"/>
          <a:lstStyle>
            <a:lvl1pPr marL="0" indent="0" algn="ctr" rtl="0">
              <a:buNone/>
              <a:defRPr sz="1200">
                <a:solidFill>
                  <a:schemeClr val="bg1"/>
                </a:solidFill>
              </a:defRPr>
            </a:lvl1pPr>
          </a:lstStyle>
          <a:p>
            <a:pPr lvl="0"/>
            <a:r>
              <a:rPr lang="en-US"/>
              <a:t> </a:t>
            </a:r>
          </a:p>
        </p:txBody>
      </p:sp>
      <p:sp>
        <p:nvSpPr>
          <p:cNvPr id="30" name="Text Placeholder 10">
            <a:extLst>
              <a:ext uri="{FF2B5EF4-FFF2-40B4-BE49-F238E27FC236}">
                <a16:creationId xmlns:a16="http://schemas.microsoft.com/office/drawing/2014/main" id="{14B7DB8C-A095-51B4-A04A-5176DE28842A}"/>
              </a:ext>
            </a:extLst>
          </p:cNvPr>
          <p:cNvSpPr>
            <a:spLocks noGrp="1"/>
          </p:cNvSpPr>
          <p:nvPr>
            <p:ph type="body" sz="quarter" idx="32" hasCustomPrompt="1"/>
          </p:nvPr>
        </p:nvSpPr>
        <p:spPr>
          <a:xfrm>
            <a:off x="457200"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sp>
        <p:nvSpPr>
          <p:cNvPr id="31" name="Text Placeholder 10">
            <a:extLst>
              <a:ext uri="{FF2B5EF4-FFF2-40B4-BE49-F238E27FC236}">
                <a16:creationId xmlns:a16="http://schemas.microsoft.com/office/drawing/2014/main" id="{95BD690B-7E73-1119-A176-5EC4AF8F3B87}"/>
              </a:ext>
            </a:extLst>
          </p:cNvPr>
          <p:cNvSpPr>
            <a:spLocks noGrp="1"/>
          </p:cNvSpPr>
          <p:nvPr>
            <p:ph type="body" sz="quarter" idx="33" hasCustomPrompt="1"/>
          </p:nvPr>
        </p:nvSpPr>
        <p:spPr>
          <a:xfrm>
            <a:off x="6213884" y="5243285"/>
            <a:ext cx="716280" cy="716279"/>
          </a:xfrm>
          <a:prstGeom prst="ellipse">
            <a:avLst/>
          </a:prstGeom>
          <a:solidFill>
            <a:schemeClr val="accent5"/>
          </a:solidFill>
        </p:spPr>
        <p:txBody>
          <a:bodyPr lIns="72000" anchor="ctr" anchorCtr="0"/>
          <a:lstStyle>
            <a:lvl1pPr marL="0" indent="0" algn="ctr" rtl="0">
              <a:buNone/>
              <a:defRPr sz="1200">
                <a:solidFill>
                  <a:schemeClr val="bg1"/>
                </a:solidFill>
              </a:defRPr>
            </a:lvl1pPr>
          </a:lstStyle>
          <a:p>
            <a:pPr lvl="0"/>
            <a:r>
              <a:rPr lang="en-US"/>
              <a:t> </a:t>
            </a:r>
          </a:p>
        </p:txBody>
      </p:sp>
      <p:graphicFrame>
        <p:nvGraphicFramePr>
          <p:cNvPr id="42" name="Object 41" hidden="1">
            <a:extLst>
              <a:ext uri="{FF2B5EF4-FFF2-40B4-BE49-F238E27FC236}">
                <a16:creationId xmlns:a16="http://schemas.microsoft.com/office/drawing/2014/main" id="{E7373F79-D4DC-EC02-943D-BCD1B5C376C1}"/>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42" name="Object 41" hidden="1">
                        <a:extLst>
                          <a:ext uri="{FF2B5EF4-FFF2-40B4-BE49-F238E27FC236}">
                            <a16:creationId xmlns:a16="http://schemas.microsoft.com/office/drawing/2014/main" id="{E7373F79-D4DC-EC02-943D-BCD1B5C376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271322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0 text boxes_ No icons">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260ED2-2598-A39D-3DC5-BF39DD3099D0}"/>
              </a:ext>
            </a:extLst>
          </p:cNvPr>
          <p:cNvGraphicFramePr>
            <a:graphicFrameLocks noChangeAspect="1"/>
          </p:cNvGraphicFramePr>
          <p:nvPr>
            <p:custDataLst>
              <p:tags r:id="rId2"/>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E4260ED2-2598-A39D-3DC5-BF39DD3099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D01D14-2621-FAA2-8456-FA75D5C3EA90}"/>
              </a:ext>
            </a:extLst>
          </p:cNvPr>
          <p:cNvSpPr>
            <a:spLocks noGrp="1"/>
          </p:cNvSpPr>
          <p:nvPr>
            <p:ph type="title"/>
          </p:nvPr>
        </p:nvSpPr>
        <p:spPr>
          <a:xfrm>
            <a:off x="457199" y="358160"/>
            <a:ext cx="11277597" cy="657840"/>
          </a:xfrm>
        </p:spPr>
        <p:txBody>
          <a:bodyPr vert="horz"/>
          <a:lstStyle/>
          <a:p>
            <a:r>
              <a:rPr lang="en-US"/>
              <a:t>Click to edit Master title style</a:t>
            </a:r>
          </a:p>
        </p:txBody>
      </p:sp>
      <p:sp>
        <p:nvSpPr>
          <p:cNvPr id="4" name="Date Placeholder 3">
            <a:extLst>
              <a:ext uri="{FF2B5EF4-FFF2-40B4-BE49-F238E27FC236}">
                <a16:creationId xmlns:a16="http://schemas.microsoft.com/office/drawing/2014/main" id="{873CE827-68B3-875C-B24A-130147B0E824}"/>
              </a:ext>
            </a:extLst>
          </p:cNvPr>
          <p:cNvSpPr>
            <a:spLocks noGrp="1"/>
          </p:cNvSpPr>
          <p:nvPr>
            <p:ph type="dt" sz="half" idx="10"/>
          </p:nvPr>
        </p:nvSpPr>
        <p:spPr/>
        <p:txBody>
          <a:bodyPr/>
          <a:lstStyle/>
          <a:p>
            <a:fld id="{90DA9CD3-6E96-4AD0-A99A-A1B4B85C7A4D}" type="datetime1">
              <a:rPr lang="en-US" smtClean="0"/>
              <a:t>4/13/2023</a:t>
            </a:fld>
            <a:endParaRPr lang="en-US"/>
          </a:p>
        </p:txBody>
      </p:sp>
      <p:sp>
        <p:nvSpPr>
          <p:cNvPr id="5" name="Footer Placeholder 4">
            <a:extLst>
              <a:ext uri="{FF2B5EF4-FFF2-40B4-BE49-F238E27FC236}">
                <a16:creationId xmlns:a16="http://schemas.microsoft.com/office/drawing/2014/main" id="{856E61C8-50AD-09BE-3EB2-B0AF589219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752F7E-607F-3590-254D-0378BCD776B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7" name="Text Placeholder 5">
            <a:extLst>
              <a:ext uri="{FF2B5EF4-FFF2-40B4-BE49-F238E27FC236}">
                <a16:creationId xmlns:a16="http://schemas.microsoft.com/office/drawing/2014/main" id="{B415AA4B-FCCF-F070-AF85-5BF83DAC2A89}"/>
              </a:ext>
            </a:extLst>
          </p:cNvPr>
          <p:cNvSpPr>
            <a:spLocks noGrp="1"/>
          </p:cNvSpPr>
          <p:nvPr>
            <p:ph type="body" sz="quarter" idx="14" hasCustomPrompt="1"/>
          </p:nvPr>
        </p:nvSpPr>
        <p:spPr>
          <a:xfrm>
            <a:off x="843281"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8" name="Text Placeholder 5">
            <a:extLst>
              <a:ext uri="{FF2B5EF4-FFF2-40B4-BE49-F238E27FC236}">
                <a16:creationId xmlns:a16="http://schemas.microsoft.com/office/drawing/2014/main" id="{373554C4-32B1-B736-95BC-732B2C2FF387}"/>
              </a:ext>
            </a:extLst>
          </p:cNvPr>
          <p:cNvSpPr>
            <a:spLocks noGrp="1"/>
          </p:cNvSpPr>
          <p:nvPr>
            <p:ph type="body" sz="quarter" idx="15" hasCustomPrompt="1"/>
          </p:nvPr>
        </p:nvSpPr>
        <p:spPr>
          <a:xfrm>
            <a:off x="843280"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19" name="Text Placeholder 5">
            <a:extLst>
              <a:ext uri="{FF2B5EF4-FFF2-40B4-BE49-F238E27FC236}">
                <a16:creationId xmlns:a16="http://schemas.microsoft.com/office/drawing/2014/main" id="{BA42A1EF-90C0-20FD-69C4-47600C245BD1}"/>
              </a:ext>
            </a:extLst>
          </p:cNvPr>
          <p:cNvSpPr>
            <a:spLocks noGrp="1"/>
          </p:cNvSpPr>
          <p:nvPr>
            <p:ph type="body" sz="quarter" idx="16" hasCustomPrompt="1"/>
          </p:nvPr>
        </p:nvSpPr>
        <p:spPr>
          <a:xfrm>
            <a:off x="843280"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0" name="Text Placeholder 5">
            <a:extLst>
              <a:ext uri="{FF2B5EF4-FFF2-40B4-BE49-F238E27FC236}">
                <a16:creationId xmlns:a16="http://schemas.microsoft.com/office/drawing/2014/main" id="{F0084888-522D-294A-1165-0D22E34ADF04}"/>
              </a:ext>
            </a:extLst>
          </p:cNvPr>
          <p:cNvSpPr>
            <a:spLocks noGrp="1"/>
          </p:cNvSpPr>
          <p:nvPr>
            <p:ph type="body" sz="quarter" idx="17" hasCustomPrompt="1"/>
          </p:nvPr>
        </p:nvSpPr>
        <p:spPr>
          <a:xfrm>
            <a:off x="843280"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1" name="Text Placeholder 5">
            <a:extLst>
              <a:ext uri="{FF2B5EF4-FFF2-40B4-BE49-F238E27FC236}">
                <a16:creationId xmlns:a16="http://schemas.microsoft.com/office/drawing/2014/main" id="{A7284345-69C1-25F6-D410-9ECCED876C8F}"/>
              </a:ext>
            </a:extLst>
          </p:cNvPr>
          <p:cNvSpPr>
            <a:spLocks noGrp="1"/>
          </p:cNvSpPr>
          <p:nvPr>
            <p:ph type="body" sz="quarter" idx="18" hasCustomPrompt="1"/>
          </p:nvPr>
        </p:nvSpPr>
        <p:spPr>
          <a:xfrm>
            <a:off x="843280"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2" name="Text Placeholder 5">
            <a:extLst>
              <a:ext uri="{FF2B5EF4-FFF2-40B4-BE49-F238E27FC236}">
                <a16:creationId xmlns:a16="http://schemas.microsoft.com/office/drawing/2014/main" id="{BF1358FE-76A3-547B-7857-5D3E0F6A517E}"/>
              </a:ext>
            </a:extLst>
          </p:cNvPr>
          <p:cNvSpPr>
            <a:spLocks noGrp="1"/>
          </p:cNvSpPr>
          <p:nvPr>
            <p:ph type="body" sz="quarter" idx="19" hasCustomPrompt="1"/>
          </p:nvPr>
        </p:nvSpPr>
        <p:spPr>
          <a:xfrm>
            <a:off x="6572024" y="1216286"/>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3" name="Text Placeholder 5">
            <a:extLst>
              <a:ext uri="{FF2B5EF4-FFF2-40B4-BE49-F238E27FC236}">
                <a16:creationId xmlns:a16="http://schemas.microsoft.com/office/drawing/2014/main" id="{F3AA0471-7F21-8524-845C-15F41F7999E5}"/>
              </a:ext>
            </a:extLst>
          </p:cNvPr>
          <p:cNvSpPr>
            <a:spLocks noGrp="1"/>
          </p:cNvSpPr>
          <p:nvPr>
            <p:ph type="body" sz="quarter" idx="20" hasCustomPrompt="1"/>
          </p:nvPr>
        </p:nvSpPr>
        <p:spPr>
          <a:xfrm>
            <a:off x="6572024" y="2196800"/>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4" name="Text Placeholder 5">
            <a:extLst>
              <a:ext uri="{FF2B5EF4-FFF2-40B4-BE49-F238E27FC236}">
                <a16:creationId xmlns:a16="http://schemas.microsoft.com/office/drawing/2014/main" id="{DCDF1593-39E3-B8C6-A279-6950D3AEA76E}"/>
              </a:ext>
            </a:extLst>
          </p:cNvPr>
          <p:cNvSpPr>
            <a:spLocks noGrp="1"/>
          </p:cNvSpPr>
          <p:nvPr>
            <p:ph type="body" sz="quarter" idx="21" hasCustomPrompt="1"/>
          </p:nvPr>
        </p:nvSpPr>
        <p:spPr>
          <a:xfrm>
            <a:off x="6572024" y="3177314"/>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5" name="Text Placeholder 5">
            <a:extLst>
              <a:ext uri="{FF2B5EF4-FFF2-40B4-BE49-F238E27FC236}">
                <a16:creationId xmlns:a16="http://schemas.microsoft.com/office/drawing/2014/main" id="{F4751D6E-74EC-0859-6A70-DEFF21C32770}"/>
              </a:ext>
            </a:extLst>
          </p:cNvPr>
          <p:cNvSpPr>
            <a:spLocks noGrp="1"/>
          </p:cNvSpPr>
          <p:nvPr>
            <p:ph type="body" sz="quarter" idx="22" hasCustomPrompt="1"/>
          </p:nvPr>
        </p:nvSpPr>
        <p:spPr>
          <a:xfrm>
            <a:off x="6572024" y="4157828"/>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sp>
        <p:nvSpPr>
          <p:cNvPr id="26" name="Text Placeholder 5">
            <a:extLst>
              <a:ext uri="{FF2B5EF4-FFF2-40B4-BE49-F238E27FC236}">
                <a16:creationId xmlns:a16="http://schemas.microsoft.com/office/drawing/2014/main" id="{22E5B812-64E4-7798-C0A9-A9134281FC8E}"/>
              </a:ext>
            </a:extLst>
          </p:cNvPr>
          <p:cNvSpPr>
            <a:spLocks noGrp="1"/>
          </p:cNvSpPr>
          <p:nvPr>
            <p:ph type="body" sz="quarter" idx="23" hasCustomPrompt="1"/>
          </p:nvPr>
        </p:nvSpPr>
        <p:spPr>
          <a:xfrm>
            <a:off x="6572024" y="5138343"/>
            <a:ext cx="5162772" cy="926162"/>
          </a:xfrm>
          <a:solidFill>
            <a:schemeClr val="bg1"/>
          </a:solidFill>
          <a:effectLst>
            <a:outerShdw blurRad="127000" sx="102000" sy="102000" algn="ctr" rotWithShape="0">
              <a:prstClr val="black">
                <a:alpha val="5000"/>
              </a:prstClr>
            </a:outerShdw>
          </a:effectLst>
        </p:spPr>
        <p:txBody>
          <a:bodyPr lIns="540000" rIns="180000" anchor="ctr" anchorCtr="0"/>
          <a:lstStyle>
            <a:lvl1pPr marL="0" indent="0" rtl="0">
              <a:spcBef>
                <a:spcPts val="0"/>
              </a:spcBef>
              <a:buNone/>
              <a:defRPr sz="2200"/>
            </a:lvl1pPr>
            <a:lvl2pPr>
              <a:defRPr sz="1600"/>
            </a:lvl2pPr>
            <a:lvl3pPr>
              <a:defRPr sz="1600"/>
            </a:lvl3pPr>
            <a:lvl4pPr>
              <a:defRPr sz="1600"/>
            </a:lvl4pPr>
            <a:lvl5pPr>
              <a:defRPr sz="1600"/>
            </a:lvl5pPr>
          </a:lstStyle>
          <a:p>
            <a:pPr lvl="0"/>
            <a:r>
              <a:rPr lang="en-US"/>
              <a:t>Text here. Delete unwanted text boxes from the slide. </a:t>
            </a:r>
          </a:p>
        </p:txBody>
      </p:sp>
      <p:graphicFrame>
        <p:nvGraphicFramePr>
          <p:cNvPr id="27" name="Object 26" hidden="1">
            <a:extLst>
              <a:ext uri="{FF2B5EF4-FFF2-40B4-BE49-F238E27FC236}">
                <a16:creationId xmlns:a16="http://schemas.microsoft.com/office/drawing/2014/main" id="{7164229B-1C14-5AD2-946B-0BC5AD90C7EC}"/>
              </a:ext>
            </a:extLst>
          </p:cNvPr>
          <p:cNvGraphicFramePr>
            <a:graphicFrameLocks noChangeAspect="1"/>
          </p:cNvGraphicFramePr>
          <p:nvPr userDrawn="1">
            <p:custDataLst>
              <p:tags r:id="rId3"/>
            </p:custDataLst>
            <p:extLst>
              <p:ext uri="{D42A27DB-BD31-4B8C-83A1-F6EECF244321}">
                <p14:modId xmlns:p14="http://schemas.microsoft.com/office/powerpoint/2010/main" val="2579559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27" name="Object 26" hidden="1">
                        <a:extLst>
                          <a:ext uri="{FF2B5EF4-FFF2-40B4-BE49-F238E27FC236}">
                            <a16:creationId xmlns:a16="http://schemas.microsoft.com/office/drawing/2014/main" id="{7164229B-1C14-5AD2-946B-0BC5AD90C7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104065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29421A-B5C0-FB96-755E-2A01620F8B17}"/>
              </a:ext>
            </a:extLst>
          </p:cNvPr>
          <p:cNvGraphicFramePr>
            <a:graphicFrameLocks noChangeAspect="1"/>
          </p:cNvGraphicFramePr>
          <p:nvPr>
            <p:custDataLst>
              <p:tags r:id="rId2"/>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1D29421A-B5C0-FB96-755E-2A01620F8B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Freeform: Shape 20">
            <a:extLst>
              <a:ext uri="{FF2B5EF4-FFF2-40B4-BE49-F238E27FC236}">
                <a16:creationId xmlns:a16="http://schemas.microsoft.com/office/drawing/2014/main" id="{ED22B748-F5FB-F7EA-9FF9-6781C9DFC890}"/>
              </a:ext>
            </a:extLst>
          </p:cNvPr>
          <p:cNvSpPr/>
          <p:nvPr userDrawn="1"/>
        </p:nvSpPr>
        <p:spPr>
          <a:xfrm>
            <a:off x="5819188" y="2073359"/>
            <a:ext cx="6372814" cy="4784641"/>
          </a:xfrm>
          <a:custGeom>
            <a:avLst/>
            <a:gdLst>
              <a:gd name="connsiteX0" fmla="*/ 1578800 w 6372814"/>
              <a:gd name="connsiteY0" fmla="*/ 195 h 4784641"/>
              <a:gd name="connsiteX1" fmla="*/ 1697445 w 6372814"/>
              <a:gd name="connsiteY1" fmla="*/ 15262 h 4784641"/>
              <a:gd name="connsiteX2" fmla="*/ 6372813 w 6372814"/>
              <a:gd name="connsiteY2" fmla="*/ 1085353 h 4784641"/>
              <a:gd name="connsiteX3" fmla="*/ 6372814 w 6372814"/>
              <a:gd name="connsiteY3" fmla="*/ 4784641 h 4784641"/>
              <a:gd name="connsiteX4" fmla="*/ 0 w 6372814"/>
              <a:gd name="connsiteY4" fmla="*/ 4784641 h 4784641"/>
              <a:gd name="connsiteX5" fmla="*/ 989888 w 6372814"/>
              <a:gd name="connsiteY5" fmla="*/ 458607 h 4784641"/>
              <a:gd name="connsiteX6" fmla="*/ 1578800 w 6372814"/>
              <a:gd name="connsiteY6" fmla="*/ 195 h 478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2814" h="4784641">
                <a:moveTo>
                  <a:pt x="1578800" y="195"/>
                </a:moveTo>
                <a:cubicBezTo>
                  <a:pt x="1618041" y="1202"/>
                  <a:pt x="1657751" y="6130"/>
                  <a:pt x="1697445" y="15262"/>
                </a:cubicBezTo>
                <a:lnTo>
                  <a:pt x="6372813" y="1085353"/>
                </a:lnTo>
                <a:lnTo>
                  <a:pt x="6372814" y="4784641"/>
                </a:lnTo>
                <a:lnTo>
                  <a:pt x="0" y="4784641"/>
                </a:lnTo>
                <a:lnTo>
                  <a:pt x="989888" y="458607"/>
                </a:lnTo>
                <a:cubicBezTo>
                  <a:pt x="1052337" y="178220"/>
                  <a:pt x="1304103" y="-6854"/>
                  <a:pt x="1578800" y="195"/>
                </a:cubicBezTo>
                <a:close/>
              </a:path>
            </a:pathLst>
          </a:custGeom>
          <a:solidFill>
            <a:schemeClr val="accent2">
              <a:alpha val="2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61D30CCA-B5CE-044B-5D24-71633DEDABC0}"/>
              </a:ext>
            </a:extLst>
          </p:cNvPr>
          <p:cNvSpPr/>
          <p:nvPr/>
        </p:nvSpPr>
        <p:spPr>
          <a:xfrm>
            <a:off x="0" y="0"/>
            <a:ext cx="6691019" cy="5634744"/>
          </a:xfrm>
          <a:custGeom>
            <a:avLst/>
            <a:gdLst>
              <a:gd name="connsiteX0" fmla="*/ 14828 w 6691019"/>
              <a:gd name="connsiteY0" fmla="*/ 0 h 5634744"/>
              <a:gd name="connsiteX1" fmla="*/ 6691019 w 6691019"/>
              <a:gd name="connsiteY1" fmla="*/ 0 h 5634744"/>
              <a:gd name="connsiteX2" fmla="*/ 5506609 w 6691019"/>
              <a:gd name="connsiteY2" fmla="*/ 5176138 h 5634744"/>
              <a:gd name="connsiteX3" fmla="*/ 4917698 w 6691019"/>
              <a:gd name="connsiteY3" fmla="*/ 5634550 h 5634744"/>
              <a:gd name="connsiteX4" fmla="*/ 4799053 w 6691019"/>
              <a:gd name="connsiteY4" fmla="*/ 5619483 h 5634744"/>
              <a:gd name="connsiteX5" fmla="*/ 0 w 6691019"/>
              <a:gd name="connsiteY5" fmla="*/ 4521083 h 5634744"/>
              <a:gd name="connsiteX6" fmla="*/ 0 w 6691019"/>
              <a:gd name="connsiteY6" fmla="*/ 235655 h 563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91019" h="5634744">
                <a:moveTo>
                  <a:pt x="14828" y="0"/>
                </a:moveTo>
                <a:lnTo>
                  <a:pt x="6691019" y="0"/>
                </a:lnTo>
                <a:lnTo>
                  <a:pt x="5506609" y="5176138"/>
                </a:lnTo>
                <a:cubicBezTo>
                  <a:pt x="5444160" y="5456525"/>
                  <a:pt x="5192394" y="5641599"/>
                  <a:pt x="4917698" y="5634550"/>
                </a:cubicBezTo>
                <a:cubicBezTo>
                  <a:pt x="4878457" y="5633543"/>
                  <a:pt x="4838746" y="5628615"/>
                  <a:pt x="4799053" y="5619483"/>
                </a:cubicBezTo>
                <a:lnTo>
                  <a:pt x="0" y="4521083"/>
                </a:lnTo>
                <a:lnTo>
                  <a:pt x="0" y="235655"/>
                </a:lnTo>
                <a:close/>
              </a:path>
            </a:pathLst>
          </a:custGeom>
          <a:solidFill>
            <a:schemeClr val="accent3">
              <a:alpha val="10000"/>
            </a:schemeClr>
          </a:solidFill>
          <a:ln w="7871" cap="flat">
            <a:noFill/>
            <a:prstDash val="solid"/>
            <a:miter/>
          </a:ln>
        </p:spPr>
        <p:txBody>
          <a:bodyPr wrap="square" rtlCol="0" anchor="ctr">
            <a:noAutofit/>
          </a:bodyPr>
          <a:lstStyle/>
          <a:p>
            <a:pPr lvl="0"/>
            <a:endParaRPr lang="en-US">
              <a:solidFill>
                <a:schemeClr val="tx1"/>
              </a:solidFill>
            </a:endParaRPr>
          </a:p>
        </p:txBody>
      </p:sp>
      <p:sp>
        <p:nvSpPr>
          <p:cNvPr id="2" name="Title 1">
            <a:extLst>
              <a:ext uri="{FF2B5EF4-FFF2-40B4-BE49-F238E27FC236}">
                <a16:creationId xmlns:a16="http://schemas.microsoft.com/office/drawing/2014/main" id="{75AD817A-EF53-CAF0-A679-9C27D1483A67}"/>
              </a:ext>
            </a:extLst>
          </p:cNvPr>
          <p:cNvSpPr>
            <a:spLocks noGrp="1"/>
          </p:cNvSpPr>
          <p:nvPr>
            <p:ph type="title"/>
          </p:nvPr>
        </p:nvSpPr>
        <p:spPr>
          <a:xfrm>
            <a:off x="457199" y="358160"/>
            <a:ext cx="11277599" cy="65784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AA8C35BD-188D-088B-778E-2574D7F9FD3F}"/>
              </a:ext>
            </a:extLst>
          </p:cNvPr>
          <p:cNvSpPr>
            <a:spLocks noGrp="1"/>
          </p:cNvSpPr>
          <p:nvPr>
            <p:ph sz="half" idx="1"/>
          </p:nvPr>
        </p:nvSpPr>
        <p:spPr>
          <a:xfrm>
            <a:off x="486228" y="1201774"/>
            <a:ext cx="4695750" cy="3403393"/>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44AFB8-C456-5E73-BF8E-D84F890C8D52}"/>
              </a:ext>
            </a:extLst>
          </p:cNvPr>
          <p:cNvSpPr>
            <a:spLocks noGrp="1"/>
          </p:cNvSpPr>
          <p:nvPr>
            <p:ph sz="half" idx="2"/>
          </p:nvPr>
        </p:nvSpPr>
        <p:spPr>
          <a:xfrm>
            <a:off x="7039050" y="3048000"/>
            <a:ext cx="4695750" cy="3044824"/>
          </a:xfrm>
        </p:spPr>
        <p:txBody>
          <a:bodyPr anchor="ctr"/>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9E79E6D-4795-C5BB-F269-AEE60E4B494D}"/>
              </a:ext>
            </a:extLst>
          </p:cNvPr>
          <p:cNvSpPr>
            <a:spLocks noGrp="1"/>
          </p:cNvSpPr>
          <p:nvPr>
            <p:ph type="dt" sz="half" idx="10"/>
          </p:nvPr>
        </p:nvSpPr>
        <p:spPr/>
        <p:txBody>
          <a:bodyPr/>
          <a:lstStyle/>
          <a:p>
            <a:fld id="{CB13D9D0-7EFA-492E-9A3C-AED35ABF268A}" type="datetime1">
              <a:rPr lang="en-US" smtClean="0"/>
              <a:t>4/13/2023</a:t>
            </a:fld>
            <a:endParaRPr lang="en-US"/>
          </a:p>
        </p:txBody>
      </p:sp>
      <p:sp>
        <p:nvSpPr>
          <p:cNvPr id="6" name="Footer Placeholder 5">
            <a:extLst>
              <a:ext uri="{FF2B5EF4-FFF2-40B4-BE49-F238E27FC236}">
                <a16:creationId xmlns:a16="http://schemas.microsoft.com/office/drawing/2014/main" id="{A0608403-10E1-A90F-4658-C227DF4DA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6E3200-38CC-8903-8E7C-3312586FFA7E}"/>
              </a:ext>
            </a:extLst>
          </p:cNvPr>
          <p:cNvSpPr>
            <a:spLocks noGrp="1"/>
          </p:cNvSpPr>
          <p:nvPr>
            <p:ph type="sldNum" sz="quarter" idx="12"/>
          </p:nvPr>
        </p:nvSpPr>
        <p:spPr/>
        <p:txBody>
          <a:bodyPr/>
          <a:lstStyle/>
          <a:p>
            <a:fld id="{F93F11C7-B87C-4933-9AFD-08422E5A18E7}" type="slidenum">
              <a:rPr lang="en-US" smtClean="0"/>
              <a:t>‹#›</a:t>
            </a:fld>
            <a:endParaRPr lang="en-US"/>
          </a:p>
        </p:txBody>
      </p:sp>
      <p:graphicFrame>
        <p:nvGraphicFramePr>
          <p:cNvPr id="11" name="Object 10" hidden="1">
            <a:extLst>
              <a:ext uri="{FF2B5EF4-FFF2-40B4-BE49-F238E27FC236}">
                <a16:creationId xmlns:a16="http://schemas.microsoft.com/office/drawing/2014/main" id="{2FA39438-781B-0068-75B4-03C1BE4E4D4C}"/>
              </a:ext>
            </a:extLst>
          </p:cNvPr>
          <p:cNvGraphicFramePr>
            <a:graphicFrameLocks noChangeAspect="1"/>
          </p:cNvGraphicFramePr>
          <p:nvPr userDrawn="1">
            <p:custDataLst>
              <p:tags r:id="rId3"/>
            </p:custDataLst>
            <p:extLst>
              <p:ext uri="{D42A27DB-BD31-4B8C-83A1-F6EECF244321}">
                <p14:modId xmlns:p14="http://schemas.microsoft.com/office/powerpoint/2010/main" val="279533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2FA39438-781B-0068-75B4-03C1BE4E4D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6271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ive Data 1">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F24F1-1B40-B065-6422-84A363E5B440}"/>
              </a:ext>
            </a:extLst>
          </p:cNvPr>
          <p:cNvGraphicFramePr>
            <a:graphicFrameLocks noChangeAspect="1"/>
          </p:cNvGraphicFramePr>
          <p:nvPr>
            <p:custDataLst>
              <p:tags r:id="rId2"/>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7" name="Object 6" hidden="1">
                        <a:extLst>
                          <a:ext uri="{FF2B5EF4-FFF2-40B4-BE49-F238E27FC236}">
                            <a16:creationId xmlns:a16="http://schemas.microsoft.com/office/drawing/2014/main" id="{B77F24F1-1B40-B065-6422-84A363E5B4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6942582" y="0"/>
            <a:ext cx="52494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1AE8DEAB-9847-4569-807B-2760D006283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a:xfrm>
            <a:off x="457200" y="6254713"/>
            <a:ext cx="6028182" cy="490253"/>
          </a:xfrm>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457199" y="457201"/>
            <a:ext cx="6028183"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17" name="Freeform: Shape 16">
            <a:extLst>
              <a:ext uri="{FF2B5EF4-FFF2-40B4-BE49-F238E27FC236}">
                <a16:creationId xmlns:a16="http://schemas.microsoft.com/office/drawing/2014/main" id="{81A840BA-AE24-6833-967B-3FCD338D8BC6}"/>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7396163" y="2002515"/>
            <a:ext cx="4338637" cy="4099469"/>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12" name="Object 11" hidden="1">
            <a:extLst>
              <a:ext uri="{FF2B5EF4-FFF2-40B4-BE49-F238E27FC236}">
                <a16:creationId xmlns:a16="http://schemas.microsoft.com/office/drawing/2014/main" id="{B89886D0-FA9A-6183-78A2-3873E590169D}"/>
              </a:ext>
            </a:extLst>
          </p:cNvPr>
          <p:cNvGraphicFramePr>
            <a:graphicFrameLocks noChangeAspect="1"/>
          </p:cNvGraphicFramePr>
          <p:nvPr userDrawn="1">
            <p:custDataLst>
              <p:tags r:id="rId3"/>
            </p:custDataLst>
            <p:extLst>
              <p:ext uri="{D42A27DB-BD31-4B8C-83A1-F6EECF244321}">
                <p14:modId xmlns:p14="http://schemas.microsoft.com/office/powerpoint/2010/main" val="42358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B89886D0-FA9A-6183-78A2-3873E59016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69702F-4143-3E57-A71B-8D4AE3A14DBD}"/>
              </a:ext>
            </a:extLst>
          </p:cNvPr>
          <p:cNvSpPr>
            <a:spLocks noGrp="1"/>
          </p:cNvSpPr>
          <p:nvPr>
            <p:ph type="title"/>
          </p:nvPr>
        </p:nvSpPr>
        <p:spPr>
          <a:xfrm>
            <a:off x="7396162" y="358160"/>
            <a:ext cx="4338637" cy="1102340"/>
          </a:xfrm>
        </p:spPr>
        <p:txBody>
          <a:bodyPr/>
          <a:lstStyle/>
          <a:p>
            <a:r>
              <a:rPr lang="en-US"/>
              <a:t>Click to edit Master title style</a:t>
            </a:r>
          </a:p>
        </p:txBody>
      </p:sp>
      <p:pic>
        <p:nvPicPr>
          <p:cNvPr id="8" name="Graphic 7">
            <a:extLst>
              <a:ext uri="{FF2B5EF4-FFF2-40B4-BE49-F238E27FC236}">
                <a16:creationId xmlns:a16="http://schemas.microsoft.com/office/drawing/2014/main" id="{39EA7FE0-527E-6BCF-7529-DB1D350904C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3623047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Live Data 3">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CBB890-2B34-0EDC-86F4-4C979D60C8B4}"/>
              </a:ext>
            </a:extLst>
          </p:cNvPr>
          <p:cNvGraphicFramePr>
            <a:graphicFrameLocks noChangeAspect="1"/>
          </p:cNvGraphicFramePr>
          <p:nvPr userDrawn="1">
            <p:custDataLst>
              <p:tags r:id="rId2"/>
            </p:custDataLst>
            <p:extLst>
              <p:ext uri="{D42A27DB-BD31-4B8C-83A1-F6EECF244321}">
                <p14:modId xmlns:p14="http://schemas.microsoft.com/office/powerpoint/2010/main" val="130425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05CBB890-2B34-0EDC-86F4-4C979D60C8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2F68F733-D04C-5364-CBD1-B4A476ED2FFD}"/>
              </a:ext>
            </a:extLst>
          </p:cNvPr>
          <p:cNvSpPr/>
          <p:nvPr/>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lvl1pPr>
              <a:defRPr>
                <a:solidFill>
                  <a:schemeClr val="bg2"/>
                </a:solidFill>
              </a:defRPr>
            </a:lvl1pPr>
          </a:lstStyle>
          <a:p>
            <a:fld id="{072E7E85-164D-425E-84A8-872DEF8B7B74}"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18" name="Chart Placeholder 17">
            <a:extLst>
              <a:ext uri="{FF2B5EF4-FFF2-40B4-BE49-F238E27FC236}">
                <a16:creationId xmlns:a16="http://schemas.microsoft.com/office/drawing/2014/main" id="{DE459215-39D9-9D32-420F-6DCBF27B7B48}"/>
              </a:ext>
            </a:extLst>
          </p:cNvPr>
          <p:cNvSpPr>
            <a:spLocks noGrp="1"/>
          </p:cNvSpPr>
          <p:nvPr>
            <p:ph type="chart" sz="quarter" idx="17" hasCustomPrompt="1"/>
          </p:nvPr>
        </p:nvSpPr>
        <p:spPr>
          <a:xfrm>
            <a:off x="6096000" y="457201"/>
            <a:ext cx="5635182" cy="5635624"/>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22" name="Title 21">
            <a:extLst>
              <a:ext uri="{FF2B5EF4-FFF2-40B4-BE49-F238E27FC236}">
                <a16:creationId xmlns:a16="http://schemas.microsoft.com/office/drawing/2014/main" id="{989E78D6-865E-23E7-3982-71F77BAC7C75}"/>
              </a:ext>
            </a:extLst>
          </p:cNvPr>
          <p:cNvSpPr>
            <a:spLocks noGrp="1"/>
          </p:cNvSpPr>
          <p:nvPr>
            <p:ph type="title"/>
          </p:nvPr>
        </p:nvSpPr>
        <p:spPr>
          <a:xfrm>
            <a:off x="457200" y="457200"/>
            <a:ext cx="4823012" cy="1345028"/>
          </a:xfrm>
        </p:spPr>
        <p:txBody>
          <a:bodyPr vert="horz" lIns="0" anchor="ctr" anchorCtr="0"/>
          <a:lstStyle/>
          <a:p>
            <a:r>
              <a:rPr lang="en-US"/>
              <a:t>Click to edit Master title style</a:t>
            </a:r>
          </a:p>
        </p:txBody>
      </p:sp>
      <p:sp>
        <p:nvSpPr>
          <p:cNvPr id="29" name="Text Placeholder 28">
            <a:extLst>
              <a:ext uri="{FF2B5EF4-FFF2-40B4-BE49-F238E27FC236}">
                <a16:creationId xmlns:a16="http://schemas.microsoft.com/office/drawing/2014/main" id="{28BD8E68-807C-5A09-5B81-8F33325DB87D}"/>
              </a:ext>
            </a:extLst>
          </p:cNvPr>
          <p:cNvSpPr>
            <a:spLocks noGrp="1"/>
          </p:cNvSpPr>
          <p:nvPr>
            <p:ph type="body" sz="quarter" idx="18"/>
          </p:nvPr>
        </p:nvSpPr>
        <p:spPr>
          <a:xfrm>
            <a:off x="457773" y="2002515"/>
            <a:ext cx="4817723" cy="409031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reeform: Shape 8">
            <a:extLst>
              <a:ext uri="{FF2B5EF4-FFF2-40B4-BE49-F238E27FC236}">
                <a16:creationId xmlns:a16="http://schemas.microsoft.com/office/drawing/2014/main" id="{1C95B822-3407-8CAF-5F98-FD259482E694}"/>
              </a:ext>
            </a:extLst>
          </p:cNvPr>
          <p:cNvSpPr/>
          <p:nvPr/>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Tree>
    <p:custDataLst>
      <p:tags r:id="rId1"/>
    </p:custDataLst>
    <p:extLst>
      <p:ext uri="{BB962C8B-B14F-4D97-AF65-F5344CB8AC3E}">
        <p14:creationId xmlns:p14="http://schemas.microsoft.com/office/powerpoint/2010/main" val="174694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Live Data 4">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4D0C1E9-6CD1-BEDE-A892-942E9CA1A3E0}"/>
              </a:ext>
            </a:extLst>
          </p:cNvPr>
          <p:cNvSpPr/>
          <p:nvPr/>
        </p:nvSpPr>
        <p:spPr>
          <a:xfrm>
            <a:off x="0" y="0"/>
            <a:ext cx="12192000" cy="22354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35" name="Group 34">
            <a:extLst>
              <a:ext uri="{FF2B5EF4-FFF2-40B4-BE49-F238E27FC236}">
                <a16:creationId xmlns:a16="http://schemas.microsoft.com/office/drawing/2014/main" id="{503D2574-B72E-A593-1F54-3759A9FCC98F}"/>
              </a:ext>
            </a:extLst>
          </p:cNvPr>
          <p:cNvGrpSpPr/>
          <p:nvPr/>
        </p:nvGrpSpPr>
        <p:grpSpPr>
          <a:xfrm>
            <a:off x="10356274" y="-1"/>
            <a:ext cx="1835725" cy="1584149"/>
            <a:chOff x="8901408" y="0"/>
            <a:chExt cx="3290592" cy="2839633"/>
          </a:xfrm>
          <a:solidFill>
            <a:schemeClr val="accent1">
              <a:alpha val="30000"/>
            </a:schemeClr>
          </a:solidFill>
        </p:grpSpPr>
        <p:sp>
          <p:nvSpPr>
            <p:cNvPr id="36" name="Freeform: Shape 35">
              <a:extLst>
                <a:ext uri="{FF2B5EF4-FFF2-40B4-BE49-F238E27FC236}">
                  <a16:creationId xmlns:a16="http://schemas.microsoft.com/office/drawing/2014/main" id="{97763564-8B4C-22B8-B7F5-9A76D73A7A24}"/>
                </a:ext>
              </a:extLst>
            </p:cNvPr>
            <p:cNvSpPr/>
            <p:nvPr/>
          </p:nvSpPr>
          <p:spPr>
            <a:xfrm rot="2700000" flipH="1" flipV="1">
              <a:off x="8816518" y="661068"/>
              <a:ext cx="2808655" cy="1548475"/>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7" name="Freeform: Shape 36">
              <a:extLst>
                <a:ext uri="{FF2B5EF4-FFF2-40B4-BE49-F238E27FC236}">
                  <a16:creationId xmlns:a16="http://schemas.microsoft.com/office/drawing/2014/main" id="{856C2C10-C279-57CC-45E5-292F582C9CE8}"/>
                </a:ext>
              </a:extLst>
            </p:cNvPr>
            <p:cNvSpPr/>
            <p:nvPr/>
          </p:nvSpPr>
          <p:spPr>
            <a:xfrm rot="10800000">
              <a:off x="10140700" y="1213054"/>
              <a:ext cx="2051300" cy="1548474"/>
            </a:xfrm>
            <a:custGeom>
              <a:avLst/>
              <a:gdLst>
                <a:gd name="connsiteX0" fmla="*/ 646973 w 2051300"/>
                <a:gd name="connsiteY0" fmla="*/ 345605 h 1548474"/>
                <a:gd name="connsiteX1" fmla="*/ 646974 w 2051300"/>
                <a:gd name="connsiteY1" fmla="*/ 345602 h 1548474"/>
                <a:gd name="connsiteX2" fmla="*/ 646973 w 2051300"/>
                <a:gd name="connsiteY2" fmla="*/ 345601 h 1548474"/>
                <a:gd name="connsiteX3" fmla="*/ 646970 w 2051300"/>
                <a:gd name="connsiteY3" fmla="*/ 345602 h 1548474"/>
                <a:gd name="connsiteX4" fmla="*/ 669329 w 2051300"/>
                <a:gd name="connsiteY4" fmla="*/ 1548474 h 1548474"/>
                <a:gd name="connsiteX5" fmla="*/ 646973 w 2051300"/>
                <a:gd name="connsiteY5" fmla="*/ 1546331 h 1548474"/>
                <a:gd name="connsiteX6" fmla="*/ 624615 w 2051300"/>
                <a:gd name="connsiteY6" fmla="*/ 1548474 h 1548474"/>
                <a:gd name="connsiteX7" fmla="*/ 352592 w 2051300"/>
                <a:gd name="connsiteY7" fmla="*/ 1435799 h 1548474"/>
                <a:gd name="connsiteX8" fmla="*/ 26394 w 2051300"/>
                <a:gd name="connsiteY8" fmla="*/ 1109601 h 1548474"/>
                <a:gd name="connsiteX9" fmla="*/ 26394 w 2051300"/>
                <a:gd name="connsiteY9" fmla="*/ 1109597 h 1548474"/>
                <a:gd name="connsiteX10" fmla="*/ 0 w 2051300"/>
                <a:gd name="connsiteY10" fmla="*/ 1083203 h 1548474"/>
                <a:gd name="connsiteX11" fmla="*/ 0 w 2051300"/>
                <a:gd name="connsiteY11" fmla="*/ 6822 h 1548474"/>
                <a:gd name="connsiteX12" fmla="*/ 26396 w 2051300"/>
                <a:gd name="connsiteY12" fmla="*/ 9352 h 1548474"/>
                <a:gd name="connsiteX13" fmla="*/ 26396 w 2051300"/>
                <a:gd name="connsiteY13" fmla="*/ 9355 h 1548474"/>
                <a:gd name="connsiteX14" fmla="*/ 34680 w 2051300"/>
                <a:gd name="connsiteY14" fmla="*/ 10150 h 1548474"/>
                <a:gd name="connsiteX15" fmla="*/ 84094 w 2051300"/>
                <a:gd name="connsiteY15" fmla="*/ 59564 h 1548474"/>
                <a:gd name="connsiteX16" fmla="*/ 478377 w 2051300"/>
                <a:gd name="connsiteY16" fmla="*/ 269334 h 1548474"/>
                <a:gd name="connsiteX17" fmla="*/ 580490 w 2051300"/>
                <a:gd name="connsiteY17" fmla="*/ 279121 h 1548474"/>
                <a:gd name="connsiteX18" fmla="*/ 643784 w 2051300"/>
                <a:gd name="connsiteY18" fmla="*/ 342417 h 1548474"/>
                <a:gd name="connsiteX19" fmla="*/ 643784 w 2051300"/>
                <a:gd name="connsiteY19" fmla="*/ 342413 h 1548474"/>
                <a:gd name="connsiteX20" fmla="*/ 580490 w 2051300"/>
                <a:gd name="connsiteY20" fmla="*/ 279118 h 1548474"/>
                <a:gd name="connsiteX21" fmla="*/ 624288 w 2051300"/>
                <a:gd name="connsiteY21" fmla="*/ 283318 h 1548474"/>
                <a:gd name="connsiteX22" fmla="*/ 643784 w 2051300"/>
                <a:gd name="connsiteY22" fmla="*/ 281449 h 1548474"/>
                <a:gd name="connsiteX23" fmla="*/ 643784 w 2051300"/>
                <a:gd name="connsiteY23" fmla="*/ 280838 h 1548474"/>
                <a:gd name="connsiteX24" fmla="*/ 646973 w 2051300"/>
                <a:gd name="connsiteY24" fmla="*/ 281143 h 1548474"/>
                <a:gd name="connsiteX25" fmla="*/ 650160 w 2051300"/>
                <a:gd name="connsiteY25" fmla="*/ 280838 h 1548474"/>
                <a:gd name="connsiteX26" fmla="*/ 650160 w 2051300"/>
                <a:gd name="connsiteY26" fmla="*/ 281449 h 1548474"/>
                <a:gd name="connsiteX27" fmla="*/ 669656 w 2051300"/>
                <a:gd name="connsiteY27" fmla="*/ 283318 h 1548474"/>
                <a:gd name="connsiteX28" fmla="*/ 713454 w 2051300"/>
                <a:gd name="connsiteY28" fmla="*/ 279118 h 1548474"/>
                <a:gd name="connsiteX29" fmla="*/ 650160 w 2051300"/>
                <a:gd name="connsiteY29" fmla="*/ 342413 h 1548474"/>
                <a:gd name="connsiteX30" fmla="*/ 650160 w 2051300"/>
                <a:gd name="connsiteY30" fmla="*/ 342417 h 1548474"/>
                <a:gd name="connsiteX31" fmla="*/ 713454 w 2051300"/>
                <a:gd name="connsiteY31" fmla="*/ 279121 h 1548474"/>
                <a:gd name="connsiteX32" fmla="*/ 815567 w 2051300"/>
                <a:gd name="connsiteY32" fmla="*/ 269334 h 1548474"/>
                <a:gd name="connsiteX33" fmla="*/ 1209850 w 2051300"/>
                <a:gd name="connsiteY33" fmla="*/ 59564 h 1548474"/>
                <a:gd name="connsiteX34" fmla="*/ 1259264 w 2051300"/>
                <a:gd name="connsiteY34" fmla="*/ 10150 h 1548474"/>
                <a:gd name="connsiteX35" fmla="*/ 1267548 w 2051300"/>
                <a:gd name="connsiteY35" fmla="*/ 9355 h 1548474"/>
                <a:gd name="connsiteX36" fmla="*/ 1267548 w 2051300"/>
                <a:gd name="connsiteY36" fmla="*/ 9352 h 1548474"/>
                <a:gd name="connsiteX37" fmla="*/ 1365122 w 2051300"/>
                <a:gd name="connsiteY37" fmla="*/ 0 h 1548474"/>
                <a:gd name="connsiteX38" fmla="*/ 2001103 w 2051300"/>
                <a:gd name="connsiteY38" fmla="*/ 263433 h 1548474"/>
                <a:gd name="connsiteX39" fmla="*/ 2051300 w 2051300"/>
                <a:gd name="connsiteY39" fmla="*/ 313630 h 1548474"/>
                <a:gd name="connsiteX40" fmla="*/ 2051300 w 2051300"/>
                <a:gd name="connsiteY40" fmla="*/ 325847 h 1548474"/>
                <a:gd name="connsiteX41" fmla="*/ 1267550 w 2051300"/>
                <a:gd name="connsiteY41" fmla="*/ 1109597 h 1548474"/>
                <a:gd name="connsiteX42" fmla="*/ 1267550 w 2051300"/>
                <a:gd name="connsiteY42" fmla="*/ 1109601 h 1548474"/>
                <a:gd name="connsiteX43" fmla="*/ 941352 w 2051300"/>
                <a:gd name="connsiteY43" fmla="*/ 1435799 h 1548474"/>
                <a:gd name="connsiteX44" fmla="*/ 669329 w 2051300"/>
                <a:gd name="connsiteY44" fmla="*/ 1548474 h 154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51300" h="1548474">
                  <a:moveTo>
                    <a:pt x="646973" y="345605"/>
                  </a:moveTo>
                  <a:lnTo>
                    <a:pt x="646974" y="345602"/>
                  </a:lnTo>
                  <a:lnTo>
                    <a:pt x="646973" y="345601"/>
                  </a:lnTo>
                  <a:lnTo>
                    <a:pt x="646970" y="345602"/>
                  </a:lnTo>
                  <a:close/>
                  <a:moveTo>
                    <a:pt x="669329" y="1548474"/>
                  </a:moveTo>
                  <a:lnTo>
                    <a:pt x="646973" y="1546331"/>
                  </a:lnTo>
                  <a:lnTo>
                    <a:pt x="624615" y="1548474"/>
                  </a:lnTo>
                  <a:cubicBezTo>
                    <a:pt x="526162" y="1548474"/>
                    <a:pt x="427709" y="1510917"/>
                    <a:pt x="352592" y="1435799"/>
                  </a:cubicBezTo>
                  <a:lnTo>
                    <a:pt x="26394" y="1109601"/>
                  </a:lnTo>
                  <a:lnTo>
                    <a:pt x="26394" y="1109597"/>
                  </a:lnTo>
                  <a:lnTo>
                    <a:pt x="0" y="1083203"/>
                  </a:lnTo>
                  <a:lnTo>
                    <a:pt x="0" y="6822"/>
                  </a:lnTo>
                  <a:lnTo>
                    <a:pt x="26396" y="9352"/>
                  </a:lnTo>
                  <a:lnTo>
                    <a:pt x="26396" y="9355"/>
                  </a:lnTo>
                  <a:lnTo>
                    <a:pt x="34680" y="10150"/>
                  </a:lnTo>
                  <a:lnTo>
                    <a:pt x="84094" y="59564"/>
                  </a:lnTo>
                  <a:cubicBezTo>
                    <a:pt x="195972" y="171442"/>
                    <a:pt x="333916" y="241365"/>
                    <a:pt x="478377" y="269334"/>
                  </a:cubicBezTo>
                  <a:lnTo>
                    <a:pt x="580490" y="279121"/>
                  </a:lnTo>
                  <a:lnTo>
                    <a:pt x="643784" y="342417"/>
                  </a:lnTo>
                  <a:lnTo>
                    <a:pt x="643784" y="342413"/>
                  </a:lnTo>
                  <a:lnTo>
                    <a:pt x="580490" y="279118"/>
                  </a:lnTo>
                  <a:lnTo>
                    <a:pt x="624288" y="283318"/>
                  </a:lnTo>
                  <a:lnTo>
                    <a:pt x="643784" y="281449"/>
                  </a:lnTo>
                  <a:lnTo>
                    <a:pt x="643784" y="280838"/>
                  </a:lnTo>
                  <a:lnTo>
                    <a:pt x="646973" y="281143"/>
                  </a:lnTo>
                  <a:lnTo>
                    <a:pt x="650160" y="280838"/>
                  </a:lnTo>
                  <a:lnTo>
                    <a:pt x="650160" y="281449"/>
                  </a:lnTo>
                  <a:lnTo>
                    <a:pt x="669656" y="283318"/>
                  </a:lnTo>
                  <a:lnTo>
                    <a:pt x="713454" y="279118"/>
                  </a:lnTo>
                  <a:lnTo>
                    <a:pt x="650160" y="342413"/>
                  </a:lnTo>
                  <a:lnTo>
                    <a:pt x="650160" y="342417"/>
                  </a:lnTo>
                  <a:lnTo>
                    <a:pt x="713454" y="279121"/>
                  </a:lnTo>
                  <a:lnTo>
                    <a:pt x="815567" y="269334"/>
                  </a:lnTo>
                  <a:cubicBezTo>
                    <a:pt x="960028" y="241365"/>
                    <a:pt x="1097972" y="171442"/>
                    <a:pt x="1209850" y="59564"/>
                  </a:cubicBezTo>
                  <a:lnTo>
                    <a:pt x="1259264" y="10150"/>
                  </a:lnTo>
                  <a:lnTo>
                    <a:pt x="1267548" y="9355"/>
                  </a:lnTo>
                  <a:lnTo>
                    <a:pt x="1267548" y="9352"/>
                  </a:lnTo>
                  <a:lnTo>
                    <a:pt x="1365122" y="0"/>
                  </a:lnTo>
                  <a:cubicBezTo>
                    <a:pt x="1595302" y="0"/>
                    <a:pt x="1825482" y="87810"/>
                    <a:pt x="2001103" y="263433"/>
                  </a:cubicBezTo>
                  <a:lnTo>
                    <a:pt x="2051300" y="313630"/>
                  </a:lnTo>
                  <a:lnTo>
                    <a:pt x="2051300" y="325847"/>
                  </a:lnTo>
                  <a:lnTo>
                    <a:pt x="1267550" y="1109597"/>
                  </a:lnTo>
                  <a:lnTo>
                    <a:pt x="1267550" y="1109601"/>
                  </a:lnTo>
                  <a:lnTo>
                    <a:pt x="941352" y="1435799"/>
                  </a:lnTo>
                  <a:cubicBezTo>
                    <a:pt x="866235" y="1510917"/>
                    <a:pt x="767782" y="1548474"/>
                    <a:pt x="669329" y="1548474"/>
                  </a:cubicBez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38" name="Freeform: Shape 37">
              <a:extLst>
                <a:ext uri="{FF2B5EF4-FFF2-40B4-BE49-F238E27FC236}">
                  <a16:creationId xmlns:a16="http://schemas.microsoft.com/office/drawing/2014/main" id="{E0541F63-12C5-BC36-D4F0-D7D5000CD6D5}"/>
                </a:ext>
              </a:extLst>
            </p:cNvPr>
            <p:cNvSpPr/>
            <p:nvPr/>
          </p:nvSpPr>
          <p:spPr>
            <a:xfrm rot="16200000" flipH="1">
              <a:off x="8917500" y="-16092"/>
              <a:ext cx="1516291" cy="1548475"/>
            </a:xfrm>
            <a:custGeom>
              <a:avLst/>
              <a:gdLst>
                <a:gd name="connsiteX0" fmla="*/ 111961 w 1516291"/>
                <a:gd name="connsiteY0" fmla="*/ 345603 h 1548475"/>
                <a:gd name="connsiteX1" fmla="*/ 111964 w 1516291"/>
                <a:gd name="connsiteY1" fmla="*/ 345601 h 1548475"/>
                <a:gd name="connsiteX2" fmla="*/ 111966 w 1516291"/>
                <a:gd name="connsiteY2" fmla="*/ 345603 h 1548475"/>
                <a:gd name="connsiteX3" fmla="*/ 111964 w 1516291"/>
                <a:gd name="connsiteY3" fmla="*/ 345605 h 1548475"/>
                <a:gd name="connsiteX4" fmla="*/ 0 w 1516291"/>
                <a:gd name="connsiteY4" fmla="*/ 274762 h 1548475"/>
                <a:gd name="connsiteX5" fmla="*/ 0 w 1516291"/>
                <a:gd name="connsiteY5" fmla="*/ 1531039 h 1548475"/>
                <a:gd name="connsiteX6" fmla="*/ 89606 w 1516291"/>
                <a:gd name="connsiteY6" fmla="*/ 1548475 h 1548475"/>
                <a:gd name="connsiteX7" fmla="*/ 111964 w 1516291"/>
                <a:gd name="connsiteY7" fmla="*/ 1546332 h 1548475"/>
                <a:gd name="connsiteX8" fmla="*/ 134321 w 1516291"/>
                <a:gd name="connsiteY8" fmla="*/ 1548475 h 1548475"/>
                <a:gd name="connsiteX9" fmla="*/ 406343 w 1516291"/>
                <a:gd name="connsiteY9" fmla="*/ 1435800 h 1548475"/>
                <a:gd name="connsiteX10" fmla="*/ 732541 w 1516291"/>
                <a:gd name="connsiteY10" fmla="*/ 1109602 h 1548475"/>
                <a:gd name="connsiteX11" fmla="*/ 732541 w 1516291"/>
                <a:gd name="connsiteY11" fmla="*/ 1109597 h 1548475"/>
                <a:gd name="connsiteX12" fmla="*/ 1516291 w 1516291"/>
                <a:gd name="connsiteY12" fmla="*/ 325847 h 1548475"/>
                <a:gd name="connsiteX13" fmla="*/ 1516291 w 1516291"/>
                <a:gd name="connsiteY13" fmla="*/ 313630 h 1548475"/>
                <a:gd name="connsiteX14" fmla="*/ 1466094 w 1516291"/>
                <a:gd name="connsiteY14" fmla="*/ 263433 h 1548475"/>
                <a:gd name="connsiteX15" fmla="*/ 830113 w 1516291"/>
                <a:gd name="connsiteY15" fmla="*/ 0 h 1548475"/>
                <a:gd name="connsiteX16" fmla="*/ 732539 w 1516291"/>
                <a:gd name="connsiteY16" fmla="*/ 9352 h 1548475"/>
                <a:gd name="connsiteX17" fmla="*/ 732539 w 1516291"/>
                <a:gd name="connsiteY17" fmla="*/ 9355 h 1548475"/>
                <a:gd name="connsiteX18" fmla="*/ 724256 w 1516291"/>
                <a:gd name="connsiteY18" fmla="*/ 10149 h 1548475"/>
                <a:gd name="connsiteX19" fmla="*/ 674841 w 1516291"/>
                <a:gd name="connsiteY19" fmla="*/ 59564 h 1548475"/>
                <a:gd name="connsiteX20" fmla="*/ 280559 w 1516291"/>
                <a:gd name="connsiteY20" fmla="*/ 269334 h 1548475"/>
                <a:gd name="connsiteX21" fmla="*/ 178446 w 1516291"/>
                <a:gd name="connsiteY21" fmla="*/ 279121 h 1548475"/>
                <a:gd name="connsiteX22" fmla="*/ 115151 w 1516291"/>
                <a:gd name="connsiteY22" fmla="*/ 342417 h 1548475"/>
                <a:gd name="connsiteX23" fmla="*/ 115151 w 1516291"/>
                <a:gd name="connsiteY23" fmla="*/ 342413 h 1548475"/>
                <a:gd name="connsiteX24" fmla="*/ 178446 w 1516291"/>
                <a:gd name="connsiteY24" fmla="*/ 279118 h 1548475"/>
                <a:gd name="connsiteX25" fmla="*/ 134648 w 1516291"/>
                <a:gd name="connsiteY25" fmla="*/ 283318 h 1548475"/>
                <a:gd name="connsiteX26" fmla="*/ 115151 w 1516291"/>
                <a:gd name="connsiteY26" fmla="*/ 281449 h 1548475"/>
                <a:gd name="connsiteX27" fmla="*/ 115151 w 1516291"/>
                <a:gd name="connsiteY27" fmla="*/ 280838 h 1548475"/>
                <a:gd name="connsiteX28" fmla="*/ 111964 w 1516291"/>
                <a:gd name="connsiteY28" fmla="*/ 281143 h 1548475"/>
                <a:gd name="connsiteX29" fmla="*/ 108776 w 1516291"/>
                <a:gd name="connsiteY29" fmla="*/ 280838 h 1548475"/>
                <a:gd name="connsiteX30" fmla="*/ 108776 w 1516291"/>
                <a:gd name="connsiteY30" fmla="*/ 281449 h 1548475"/>
                <a:gd name="connsiteX31" fmla="*/ 89279 w 1516291"/>
                <a:gd name="connsiteY31" fmla="*/ 283318 h 1548475"/>
                <a:gd name="connsiteX32" fmla="*/ 45481 w 1516291"/>
                <a:gd name="connsiteY32" fmla="*/ 279118 h 1548475"/>
                <a:gd name="connsiteX33" fmla="*/ 108776 w 1516291"/>
                <a:gd name="connsiteY33" fmla="*/ 342413 h 1548475"/>
                <a:gd name="connsiteX34" fmla="*/ 108776 w 1516291"/>
                <a:gd name="connsiteY34" fmla="*/ 342417 h 1548475"/>
                <a:gd name="connsiteX35" fmla="*/ 45481 w 1516291"/>
                <a:gd name="connsiteY35" fmla="*/ 279121 h 15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16291" h="1548475">
                  <a:moveTo>
                    <a:pt x="111961" y="345603"/>
                  </a:moveTo>
                  <a:lnTo>
                    <a:pt x="111964" y="345601"/>
                  </a:lnTo>
                  <a:lnTo>
                    <a:pt x="111966" y="345603"/>
                  </a:lnTo>
                  <a:lnTo>
                    <a:pt x="111964" y="345605"/>
                  </a:lnTo>
                  <a:close/>
                  <a:moveTo>
                    <a:pt x="0" y="274762"/>
                  </a:moveTo>
                  <a:lnTo>
                    <a:pt x="0" y="1531039"/>
                  </a:lnTo>
                  <a:lnTo>
                    <a:pt x="89606" y="1548475"/>
                  </a:lnTo>
                  <a:lnTo>
                    <a:pt x="111964" y="1546332"/>
                  </a:lnTo>
                  <a:lnTo>
                    <a:pt x="134321" y="1548475"/>
                  </a:lnTo>
                  <a:cubicBezTo>
                    <a:pt x="232774" y="1548475"/>
                    <a:pt x="331227" y="1510918"/>
                    <a:pt x="406343" y="1435800"/>
                  </a:cubicBezTo>
                  <a:lnTo>
                    <a:pt x="732541" y="1109602"/>
                  </a:lnTo>
                  <a:lnTo>
                    <a:pt x="732541" y="1109597"/>
                  </a:lnTo>
                  <a:lnTo>
                    <a:pt x="1516291" y="325847"/>
                  </a:lnTo>
                  <a:lnTo>
                    <a:pt x="1516291" y="313630"/>
                  </a:lnTo>
                  <a:lnTo>
                    <a:pt x="1466094" y="263433"/>
                  </a:lnTo>
                  <a:cubicBezTo>
                    <a:pt x="1290473" y="87810"/>
                    <a:pt x="1060293" y="0"/>
                    <a:pt x="830113" y="0"/>
                  </a:cubicBezTo>
                  <a:lnTo>
                    <a:pt x="732539" y="9352"/>
                  </a:lnTo>
                  <a:lnTo>
                    <a:pt x="732539" y="9355"/>
                  </a:lnTo>
                  <a:lnTo>
                    <a:pt x="724256" y="10149"/>
                  </a:lnTo>
                  <a:lnTo>
                    <a:pt x="674841" y="59564"/>
                  </a:lnTo>
                  <a:cubicBezTo>
                    <a:pt x="562963" y="171442"/>
                    <a:pt x="425019" y="241365"/>
                    <a:pt x="280559" y="269334"/>
                  </a:cubicBezTo>
                  <a:lnTo>
                    <a:pt x="178446" y="279121"/>
                  </a:lnTo>
                  <a:lnTo>
                    <a:pt x="115151" y="342417"/>
                  </a:lnTo>
                  <a:lnTo>
                    <a:pt x="115151" y="342413"/>
                  </a:lnTo>
                  <a:lnTo>
                    <a:pt x="178446" y="279118"/>
                  </a:lnTo>
                  <a:lnTo>
                    <a:pt x="134648" y="283318"/>
                  </a:lnTo>
                  <a:lnTo>
                    <a:pt x="115151" y="281449"/>
                  </a:lnTo>
                  <a:lnTo>
                    <a:pt x="115151" y="280838"/>
                  </a:lnTo>
                  <a:lnTo>
                    <a:pt x="111964" y="281143"/>
                  </a:lnTo>
                  <a:lnTo>
                    <a:pt x="108776" y="280838"/>
                  </a:lnTo>
                  <a:lnTo>
                    <a:pt x="108776" y="281449"/>
                  </a:lnTo>
                  <a:lnTo>
                    <a:pt x="89279" y="283318"/>
                  </a:lnTo>
                  <a:lnTo>
                    <a:pt x="45481" y="279118"/>
                  </a:lnTo>
                  <a:lnTo>
                    <a:pt x="108776" y="342413"/>
                  </a:lnTo>
                  <a:lnTo>
                    <a:pt x="108776" y="342417"/>
                  </a:lnTo>
                  <a:lnTo>
                    <a:pt x="45481" y="279121"/>
                  </a:lnTo>
                  <a:close/>
                </a:path>
              </a:pathLst>
            </a:custGeom>
            <a:grp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2" name="Date Placeholder 1">
            <a:extLst>
              <a:ext uri="{FF2B5EF4-FFF2-40B4-BE49-F238E27FC236}">
                <a16:creationId xmlns:a16="http://schemas.microsoft.com/office/drawing/2014/main" id="{C01D7DD9-2299-BAF4-FBEE-677FE8391448}"/>
              </a:ext>
            </a:extLst>
          </p:cNvPr>
          <p:cNvSpPr>
            <a:spLocks noGrp="1"/>
          </p:cNvSpPr>
          <p:nvPr>
            <p:ph type="dt" sz="half" idx="10"/>
          </p:nvPr>
        </p:nvSpPr>
        <p:spPr/>
        <p:txBody>
          <a:bodyPr/>
          <a:lstStyle/>
          <a:p>
            <a:fld id="{B7174D3A-3DB0-482E-81E2-35B0248A0BEF}" type="datetime1">
              <a:rPr lang="en-US" smtClean="0"/>
              <a:t>4/13/2023</a:t>
            </a:fld>
            <a:endParaRPr lang="en-US"/>
          </a:p>
        </p:txBody>
      </p:sp>
      <p:sp>
        <p:nvSpPr>
          <p:cNvPr id="3" name="Footer Placeholder 2">
            <a:extLst>
              <a:ext uri="{FF2B5EF4-FFF2-40B4-BE49-F238E27FC236}">
                <a16:creationId xmlns:a16="http://schemas.microsoft.com/office/drawing/2014/main" id="{F9823BED-A1E6-47D8-8252-B965507074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50E315-86A2-DD07-4808-84CB0A23C077}"/>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9" name="Text Placeholder 8">
            <a:extLst>
              <a:ext uri="{FF2B5EF4-FFF2-40B4-BE49-F238E27FC236}">
                <a16:creationId xmlns:a16="http://schemas.microsoft.com/office/drawing/2014/main" id="{DE24471E-805E-19FA-067D-3B3C3E98F15C}"/>
              </a:ext>
            </a:extLst>
          </p:cNvPr>
          <p:cNvSpPr>
            <a:spLocks noGrp="1"/>
          </p:cNvSpPr>
          <p:nvPr>
            <p:ph type="body" sz="quarter" idx="14" hasCustomPrompt="1"/>
          </p:nvPr>
        </p:nvSpPr>
        <p:spPr>
          <a:xfrm>
            <a:off x="457200" y="1046181"/>
            <a:ext cx="9347200" cy="1087849"/>
          </a:xfrm>
        </p:spPr>
        <p:txBody>
          <a:bodyPr/>
          <a:lstStyle>
            <a:lvl1pPr marL="0" indent="0">
              <a:spcBef>
                <a:spcPts val="0"/>
              </a:spcBef>
              <a:buNone/>
              <a:defRPr sz="2400" b="0">
                <a:solidFill>
                  <a:schemeClr val="bg1"/>
                </a:solidFill>
              </a:defRPr>
            </a:lvl1pPr>
          </a:lstStyle>
          <a:p>
            <a:pPr lvl="0"/>
            <a:r>
              <a:rPr lang="en-US"/>
              <a:t>Insert text here. Increase or decrease font size if needed. Bold key information.</a:t>
            </a:r>
          </a:p>
        </p:txBody>
      </p:sp>
      <p:sp>
        <p:nvSpPr>
          <p:cNvPr id="17" name="Chart Placeholder 17">
            <a:extLst>
              <a:ext uri="{FF2B5EF4-FFF2-40B4-BE49-F238E27FC236}">
                <a16:creationId xmlns:a16="http://schemas.microsoft.com/office/drawing/2014/main" id="{3A765986-F4E8-4A4B-635F-04F7CCED8569}"/>
              </a:ext>
            </a:extLst>
          </p:cNvPr>
          <p:cNvSpPr>
            <a:spLocks noGrp="1"/>
          </p:cNvSpPr>
          <p:nvPr>
            <p:ph type="chart" sz="quarter" idx="17" hasCustomPrompt="1"/>
          </p:nvPr>
        </p:nvSpPr>
        <p:spPr>
          <a:xfrm>
            <a:off x="470718" y="2235443"/>
            <a:ext cx="7504882" cy="3867448"/>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a:t>
            </a:r>
            <a:br>
              <a:rPr lang="en-US"/>
            </a:br>
            <a:r>
              <a:rPr lang="en-US"/>
              <a:t>generated spreadsheet to change data points on the chart.</a:t>
            </a:r>
          </a:p>
        </p:txBody>
      </p:sp>
      <p:sp>
        <p:nvSpPr>
          <p:cNvPr id="11" name="Text Placeholder 10">
            <a:extLst>
              <a:ext uri="{FF2B5EF4-FFF2-40B4-BE49-F238E27FC236}">
                <a16:creationId xmlns:a16="http://schemas.microsoft.com/office/drawing/2014/main" id="{1B0C029B-4C15-8ACB-6E2D-9D2EDFA85DF1}"/>
              </a:ext>
            </a:extLst>
          </p:cNvPr>
          <p:cNvSpPr>
            <a:spLocks noGrp="1"/>
          </p:cNvSpPr>
          <p:nvPr>
            <p:ph type="body" sz="quarter" idx="18"/>
          </p:nvPr>
        </p:nvSpPr>
        <p:spPr>
          <a:xfrm>
            <a:off x="8158163" y="2554009"/>
            <a:ext cx="3562350" cy="3538816"/>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4EAA3E97-E3E2-FC73-DE33-D06DEBCB9E23}"/>
              </a:ext>
            </a:extLst>
          </p:cNvPr>
          <p:cNvSpPr>
            <a:spLocks noGrp="1"/>
          </p:cNvSpPr>
          <p:nvPr>
            <p:ph type="title"/>
          </p:nvPr>
        </p:nvSpPr>
        <p:spPr>
          <a:xfrm>
            <a:off x="457200" y="358160"/>
            <a:ext cx="9347200" cy="657840"/>
          </a:xfrm>
        </p:spPr>
        <p:txBody>
          <a:bodyPr/>
          <a:lstStyle>
            <a:lvl1pP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70690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Live Data 5">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94F16C8-7DD2-9DE5-3A88-0CA7139905C3}"/>
              </a:ext>
            </a:extLst>
          </p:cNvPr>
          <p:cNvGraphicFramePr>
            <a:graphicFrameLocks noChangeAspect="1"/>
          </p:cNvGraphicFramePr>
          <p:nvPr>
            <p:custDataLst>
              <p:tags r:id="rId2"/>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94F16C8-7DD2-9DE5-3A88-0CA7139905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Top Corners Rounded 12">
            <a:extLst>
              <a:ext uri="{FF2B5EF4-FFF2-40B4-BE49-F238E27FC236}">
                <a16:creationId xmlns:a16="http://schemas.microsoft.com/office/drawing/2014/main" id="{8EC1BB50-B9AC-2B48-16F9-AA355255605D}"/>
              </a:ext>
            </a:extLst>
          </p:cNvPr>
          <p:cNvSpPr>
            <a:spLocks/>
          </p:cNvSpPr>
          <p:nvPr/>
        </p:nvSpPr>
        <p:spPr>
          <a:xfrm>
            <a:off x="4490720" y="1196975"/>
            <a:ext cx="7244079" cy="4895849"/>
          </a:xfrm>
          <a:prstGeom prst="round2SameRect">
            <a:avLst>
              <a:gd name="adj1" fmla="val 0"/>
              <a:gd name="adj2" fmla="val 9778"/>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9E0DF76-1202-4248-AA52-1A6EDB3C1D47}"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12" name="Chart Placeholder 17">
            <a:extLst>
              <a:ext uri="{FF2B5EF4-FFF2-40B4-BE49-F238E27FC236}">
                <a16:creationId xmlns:a16="http://schemas.microsoft.com/office/drawing/2014/main" id="{C12B3CDC-586B-C46D-E41E-ECFDB30148F4}"/>
              </a:ext>
            </a:extLst>
          </p:cNvPr>
          <p:cNvSpPr>
            <a:spLocks noGrp="1"/>
          </p:cNvSpPr>
          <p:nvPr>
            <p:ph type="chart" sz="quarter" idx="17" hasCustomPrompt="1"/>
          </p:nvPr>
        </p:nvSpPr>
        <p:spPr>
          <a:xfrm>
            <a:off x="4693920" y="2267187"/>
            <a:ext cx="6815551" cy="3393837"/>
          </a:xfrm>
        </p:spPr>
        <p:txBody>
          <a:bodyPr bIns="1188000" anchor="ctr" anchorCtr="0"/>
          <a:lstStyle>
            <a:lvl1pPr marL="0" indent="0" algn="ctr">
              <a:spcBef>
                <a:spcPts val="0"/>
              </a:spcBef>
              <a:buNone/>
              <a:defRPr sz="1600">
                <a:solidFill>
                  <a:schemeClr val="tx1"/>
                </a:solidFill>
              </a:defRPr>
            </a:lvl1pPr>
          </a:lstStyle>
          <a:p>
            <a:r>
              <a:rPr lang="en-US"/>
              <a:t>Click on the icon to add live data. Edit the automatically generated spreadsheet to change data points on the chart.</a:t>
            </a:r>
          </a:p>
        </p:txBody>
      </p:sp>
      <p:sp>
        <p:nvSpPr>
          <p:cNvPr id="22" name="Text Placeholder 21">
            <a:extLst>
              <a:ext uri="{FF2B5EF4-FFF2-40B4-BE49-F238E27FC236}">
                <a16:creationId xmlns:a16="http://schemas.microsoft.com/office/drawing/2014/main" id="{83973636-DA52-D6D1-E85D-B94D3EDC2EF9}"/>
              </a:ext>
            </a:extLst>
          </p:cNvPr>
          <p:cNvSpPr>
            <a:spLocks noGrp="1"/>
          </p:cNvSpPr>
          <p:nvPr>
            <p:ph type="body" sz="quarter" idx="19"/>
          </p:nvPr>
        </p:nvSpPr>
        <p:spPr>
          <a:xfrm>
            <a:off x="457200" y="1196975"/>
            <a:ext cx="3759200" cy="4787900"/>
          </a:xfrm>
        </p:spPr>
        <p:txBody>
          <a:bodyPr anchor="t"/>
          <a:lstStyle>
            <a:lvl1pPr>
              <a:defRPr sz="2400"/>
            </a:lvl1pPr>
            <a:lvl2pPr>
              <a:defRPr sz="2200"/>
            </a:lvl2pPr>
            <a:lvl3pPr>
              <a:defRPr sz="2200"/>
            </a:lvl3pPr>
            <a:lvl4pPr>
              <a:defRPr sz="2200"/>
            </a:lvl4pPr>
            <a:lvl5pP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4">
            <a:extLst>
              <a:ext uri="{FF2B5EF4-FFF2-40B4-BE49-F238E27FC236}">
                <a16:creationId xmlns:a16="http://schemas.microsoft.com/office/drawing/2014/main" id="{61439504-33E7-4AF3-3625-DFCD0FB19659}"/>
              </a:ext>
            </a:extLst>
          </p:cNvPr>
          <p:cNvSpPr>
            <a:spLocks noGrp="1"/>
          </p:cNvSpPr>
          <p:nvPr>
            <p:ph type="body" sz="quarter" idx="3" hasCustomPrompt="1"/>
          </p:nvPr>
        </p:nvSpPr>
        <p:spPr>
          <a:xfrm>
            <a:off x="4490720" y="1196976"/>
            <a:ext cx="7244079" cy="823912"/>
          </a:xfrm>
          <a:solidFill>
            <a:schemeClr val="accent1"/>
          </a:solidFill>
          <a:effectLst>
            <a:outerShdw blurRad="127000" sx="102000" sy="102000" algn="ctr" rotWithShape="0">
              <a:prstClr val="black">
                <a:alpha val="10000"/>
              </a:prstClr>
            </a:outerShdw>
          </a:effectLst>
        </p:spPr>
        <p:txBody>
          <a:bodyPr lIns="180000" tIns="180000" rIns="180000" bIns="180000" anchor="ctr" anchorCtr="0"/>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add subtitle text</a:t>
            </a:r>
          </a:p>
        </p:txBody>
      </p:sp>
      <p:graphicFrame>
        <p:nvGraphicFramePr>
          <p:cNvPr id="11" name="Object 10" hidden="1">
            <a:extLst>
              <a:ext uri="{FF2B5EF4-FFF2-40B4-BE49-F238E27FC236}">
                <a16:creationId xmlns:a16="http://schemas.microsoft.com/office/drawing/2014/main" id="{62866F72-FCA1-BC72-7FB4-112C0E16572B}"/>
              </a:ext>
            </a:extLst>
          </p:cNvPr>
          <p:cNvGraphicFramePr>
            <a:graphicFrameLocks noChangeAspect="1"/>
          </p:cNvGraphicFramePr>
          <p:nvPr userDrawn="1">
            <p:custDataLst>
              <p:tags r:id="rId3"/>
            </p:custDataLst>
            <p:extLst>
              <p:ext uri="{D42A27DB-BD31-4B8C-83A1-F6EECF244321}">
                <p14:modId xmlns:p14="http://schemas.microsoft.com/office/powerpoint/2010/main" val="125151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1" name="Object 10" hidden="1">
                        <a:extLst>
                          <a:ext uri="{FF2B5EF4-FFF2-40B4-BE49-F238E27FC236}">
                            <a16:creationId xmlns:a16="http://schemas.microsoft.com/office/drawing/2014/main" id="{62866F72-FCA1-BC72-7FB4-112C0E1657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5634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rge Image &amp; Text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65BC52-DE95-E90C-5967-C3152DD8B513}"/>
              </a:ext>
            </a:extLst>
          </p:cNvPr>
          <p:cNvGraphicFramePr>
            <a:graphicFrameLocks noChangeAspect="1"/>
          </p:cNvGraphicFramePr>
          <p:nvPr userDrawn="1">
            <p:custDataLst>
              <p:tags r:id="rId2"/>
            </p:custDataLst>
            <p:extLst>
              <p:ext uri="{D42A27DB-BD31-4B8C-83A1-F6EECF244321}">
                <p14:modId xmlns:p14="http://schemas.microsoft.com/office/powerpoint/2010/main" val="574863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7665BC52-DE95-E90C-5967-C3152DD8B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802CF4CB-670C-72C3-CAEB-B093F04C9F68}"/>
              </a:ext>
            </a:extLst>
          </p:cNvPr>
          <p:cNvSpPr>
            <a:spLocks noGrp="1"/>
          </p:cNvSpPr>
          <p:nvPr>
            <p:ph type="pic" sz="quarter" idx="16" hasCustomPrompt="1"/>
          </p:nvPr>
        </p:nvSpPr>
        <p:spPr>
          <a:xfrm>
            <a:off x="0" y="0"/>
            <a:ext cx="12192000" cy="6858000"/>
          </a:xfrm>
          <a:custGeom>
            <a:avLst/>
            <a:gdLst>
              <a:gd name="connsiteX0" fmla="*/ 0 w 12192000"/>
              <a:gd name="connsiteY0" fmla="*/ 0 h 6858000"/>
              <a:gd name="connsiteX1" fmla="*/ 5651638 w 12192000"/>
              <a:gd name="connsiteY1" fmla="*/ 0 h 6858000"/>
              <a:gd name="connsiteX2" fmla="*/ 6314542 w 12192000"/>
              <a:gd name="connsiteY2" fmla="*/ 4053363 h 6858000"/>
              <a:gd name="connsiteX3" fmla="*/ 7077258 w 12192000"/>
              <a:gd name="connsiteY3" fmla="*/ 4600845 h 6858000"/>
              <a:gd name="connsiteX4" fmla="*/ 12192000 w 12192000"/>
              <a:gd name="connsiteY4" fmla="*/ 3764070 h 6858000"/>
              <a:gd name="connsiteX5" fmla="*/ 12192000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5651638" y="0"/>
                </a:lnTo>
                <a:lnTo>
                  <a:pt x="6314542" y="4053363"/>
                </a:lnTo>
                <a:cubicBezTo>
                  <a:pt x="6372007" y="4418004"/>
                  <a:pt x="6715749" y="4660401"/>
                  <a:pt x="7077258" y="4600845"/>
                </a:cubicBezTo>
                <a:lnTo>
                  <a:pt x="12192000" y="3764070"/>
                </a:lnTo>
                <a:lnTo>
                  <a:pt x="12192000" y="6858000"/>
                </a:lnTo>
                <a:lnTo>
                  <a:pt x="0" y="6858000"/>
                </a:lnTo>
                <a:close/>
              </a:path>
            </a:pathLst>
          </a:custGeom>
          <a:solidFill>
            <a:schemeClr val="accent2"/>
          </a:solidFill>
        </p:spPr>
        <p:txBody>
          <a:bodyPr wrap="square" lIns="1440000" tIns="1332000" rIns="7200000" anchor="ctr" anchorCtr="0">
            <a:noAutofit/>
          </a:bodyPr>
          <a:lstStyle>
            <a:lvl1pPr marL="0" indent="0" algn="ctr">
              <a:buNone/>
              <a:defRPr sz="1800">
                <a:solidFill>
                  <a:schemeClr val="tx2"/>
                </a:solidFill>
              </a:defRPr>
            </a:lvl1pPr>
          </a:lstStyle>
          <a:p>
            <a:r>
              <a:rPr lang="en-GB"/>
              <a:t>Click on the icon to add an image in the background placeholder</a:t>
            </a:r>
            <a:endParaRPr lang="en-US"/>
          </a:p>
        </p:txBody>
      </p:sp>
      <p:sp>
        <p:nvSpPr>
          <p:cNvPr id="3" name="Date Placeholder 2">
            <a:extLst>
              <a:ext uri="{FF2B5EF4-FFF2-40B4-BE49-F238E27FC236}">
                <a16:creationId xmlns:a16="http://schemas.microsoft.com/office/drawing/2014/main" id="{759080EF-4B52-C15A-088B-3C0819D6BC7E}"/>
              </a:ext>
            </a:extLst>
          </p:cNvPr>
          <p:cNvSpPr>
            <a:spLocks noGrp="1"/>
          </p:cNvSpPr>
          <p:nvPr>
            <p:ph type="dt" sz="half" idx="10"/>
          </p:nvPr>
        </p:nvSpPr>
        <p:spPr/>
        <p:txBody>
          <a:bodyPr/>
          <a:lstStyle>
            <a:lvl1pPr>
              <a:defRPr>
                <a:solidFill>
                  <a:schemeClr val="bg1"/>
                </a:solidFill>
              </a:defRPr>
            </a:lvl1pPr>
          </a:lstStyle>
          <a:p>
            <a:fld id="{84A3F7DB-DF03-4681-AF6C-184A87C6F3CD}" type="datetime1">
              <a:rPr lang="en-US" smtClean="0"/>
              <a:pPr/>
              <a:t>4/13/2023</a:t>
            </a:fld>
            <a:endParaRPr lang="en-US"/>
          </a:p>
        </p:txBody>
      </p:sp>
      <p:sp>
        <p:nvSpPr>
          <p:cNvPr id="4" name="Footer Placeholder 3">
            <a:extLst>
              <a:ext uri="{FF2B5EF4-FFF2-40B4-BE49-F238E27FC236}">
                <a16:creationId xmlns:a16="http://schemas.microsoft.com/office/drawing/2014/main" id="{E9D7ACAD-2B59-ADA0-5CD1-80056C11EBE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24" name="Text Placeholder 23">
            <a:extLst>
              <a:ext uri="{FF2B5EF4-FFF2-40B4-BE49-F238E27FC236}">
                <a16:creationId xmlns:a16="http://schemas.microsoft.com/office/drawing/2014/main" id="{4E732E4F-ABEB-7E8A-CF3A-F11A54F4E37C}"/>
              </a:ext>
            </a:extLst>
          </p:cNvPr>
          <p:cNvSpPr>
            <a:spLocks noGrp="1"/>
          </p:cNvSpPr>
          <p:nvPr>
            <p:ph type="body" sz="quarter" idx="14" hasCustomPrompt="1"/>
          </p:nvPr>
        </p:nvSpPr>
        <p:spPr>
          <a:xfrm>
            <a:off x="6724649" y="800100"/>
            <a:ext cx="5010151" cy="1810097"/>
          </a:xfrm>
        </p:spPr>
        <p:txBody>
          <a:bodyPr anchor="ctr"/>
          <a:lstStyle>
            <a:lvl1pPr marL="0" indent="0">
              <a:spcBef>
                <a:spcPts val="0"/>
              </a:spcBef>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lace paragraph text here. Increase or decrease font size as needed. Use bolded text and color to highlight key information. </a:t>
            </a:r>
          </a:p>
        </p:txBody>
      </p:sp>
      <p:sp>
        <p:nvSpPr>
          <p:cNvPr id="10" name="Text Placeholder 23">
            <a:extLst>
              <a:ext uri="{FF2B5EF4-FFF2-40B4-BE49-F238E27FC236}">
                <a16:creationId xmlns:a16="http://schemas.microsoft.com/office/drawing/2014/main" id="{A9C4BF7A-2213-C9C2-F5FA-2D5E64B974CE}"/>
              </a:ext>
            </a:extLst>
          </p:cNvPr>
          <p:cNvSpPr>
            <a:spLocks noGrp="1"/>
          </p:cNvSpPr>
          <p:nvPr>
            <p:ph type="body" sz="quarter" idx="15" hasCustomPrompt="1"/>
          </p:nvPr>
        </p:nvSpPr>
        <p:spPr>
          <a:xfrm>
            <a:off x="6724649" y="2610197"/>
            <a:ext cx="5010151" cy="617786"/>
          </a:xfrm>
        </p:spPr>
        <p:txBody>
          <a:bodyPr/>
          <a:lstStyle>
            <a:lvl1pPr marL="0" indent="0" rtl="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Insert speaker’s name, job title &amp; organization</a:t>
            </a:r>
          </a:p>
        </p:txBody>
      </p:sp>
      <p:sp>
        <p:nvSpPr>
          <p:cNvPr id="5" name="Slide Number Placeholder 4">
            <a:extLst>
              <a:ext uri="{FF2B5EF4-FFF2-40B4-BE49-F238E27FC236}">
                <a16:creationId xmlns:a16="http://schemas.microsoft.com/office/drawing/2014/main" id="{2BB1BF76-4071-9A90-E503-DEF1530088BB}"/>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9" name="Graphic 8">
            <a:extLst>
              <a:ext uri="{FF2B5EF4-FFF2-40B4-BE49-F238E27FC236}">
                <a16:creationId xmlns:a16="http://schemas.microsoft.com/office/drawing/2014/main" id="{5A92104E-AF1B-44FD-0122-C27B0FC98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21033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Large Image &amp; Text 2">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14274A48-82F7-3046-88BE-69C4B5A2EE34}"/>
              </a:ext>
            </a:extLst>
          </p:cNvPr>
          <p:cNvSpPr>
            <a:spLocks noGrp="1"/>
          </p:cNvSpPr>
          <p:nvPr>
            <p:ph type="pic" sz="quarter" idx="13"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828115 h 6858000"/>
              <a:gd name="connsiteX3" fmla="*/ 4484160 w 12192000"/>
              <a:gd name="connsiteY3" fmla="*/ 2974987 h 6858000"/>
              <a:gd name="connsiteX4" fmla="*/ 4045321 w 12192000"/>
              <a:gd name="connsiteY4" fmla="*/ 3752664 h 6858000"/>
              <a:gd name="connsiteX5" fmla="*/ 491025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828115"/>
                </a:lnTo>
                <a:lnTo>
                  <a:pt x="4484160" y="2974987"/>
                </a:lnTo>
                <a:cubicBezTo>
                  <a:pt x="4148228" y="3068556"/>
                  <a:pt x="3951753" y="3416733"/>
                  <a:pt x="4045321" y="3752664"/>
                </a:cubicBezTo>
                <a:lnTo>
                  <a:pt x="4910253" y="6858000"/>
                </a:lnTo>
                <a:lnTo>
                  <a:pt x="0" y="6858000"/>
                </a:lnTo>
                <a:close/>
              </a:path>
            </a:pathLst>
          </a:custGeom>
          <a:solidFill>
            <a:schemeClr val="tx2"/>
          </a:solidFill>
        </p:spPr>
        <p:txBody>
          <a:bodyPr wrap="square" lIns="720000" bIns="4644000" anchor="ctr" anchorCtr="0">
            <a:noAutofit/>
          </a:bodyPr>
          <a:lstStyle>
            <a:lvl1pPr marL="0" indent="0" algn="l">
              <a:buNone/>
              <a:defRPr>
                <a:solidFill>
                  <a:schemeClr val="bg1"/>
                </a:solidFill>
              </a:defRPr>
            </a:lvl1pPr>
          </a:lstStyle>
          <a:p>
            <a:r>
              <a:rPr lang="en-US"/>
              <a:t>Click on the icon to add a background image into the placeholder.</a:t>
            </a:r>
          </a:p>
        </p:txBody>
      </p:sp>
      <p:sp>
        <p:nvSpPr>
          <p:cNvPr id="25" name="Text Placeholder 34">
            <a:extLst>
              <a:ext uri="{FF2B5EF4-FFF2-40B4-BE49-F238E27FC236}">
                <a16:creationId xmlns:a16="http://schemas.microsoft.com/office/drawing/2014/main" id="{BAFCB53A-47A1-AE5F-92FA-8FE1A72B28F6}"/>
              </a:ext>
            </a:extLst>
          </p:cNvPr>
          <p:cNvSpPr>
            <a:spLocks noGrp="1"/>
          </p:cNvSpPr>
          <p:nvPr>
            <p:ph type="body" sz="quarter" idx="14" hasCustomPrompt="1"/>
          </p:nvPr>
        </p:nvSpPr>
        <p:spPr>
          <a:xfrm>
            <a:off x="4978400" y="4077090"/>
            <a:ext cx="6756399" cy="2015735"/>
          </a:xfrm>
        </p:spPr>
        <p:txBody>
          <a:bodyPr lIns="72000" rIns="0"/>
          <a:lstStyle>
            <a:lvl1pPr marL="0" indent="0" algn="r">
              <a:spcBef>
                <a:spcPts val="0"/>
              </a:spcBef>
              <a:buNone/>
              <a:defRPr sz="2200">
                <a:solidFill>
                  <a:schemeClr val="tx1"/>
                </a:solidFill>
              </a:defRPr>
            </a:lvl1pPr>
          </a:lstStyle>
          <a:p>
            <a:pPr lvl="0"/>
            <a:r>
              <a:rPr lang="en-US"/>
              <a:t>Add paragraph text here. Increase or decrease font size as needed. Use bolded text and color to highlight key information. </a:t>
            </a:r>
          </a:p>
        </p:txBody>
      </p:sp>
      <p:sp>
        <p:nvSpPr>
          <p:cNvPr id="26" name="Text Placeholder 40">
            <a:extLst>
              <a:ext uri="{FF2B5EF4-FFF2-40B4-BE49-F238E27FC236}">
                <a16:creationId xmlns:a16="http://schemas.microsoft.com/office/drawing/2014/main" id="{8F71D575-78C9-53F6-473F-A3D9DAC53496}"/>
              </a:ext>
            </a:extLst>
          </p:cNvPr>
          <p:cNvSpPr>
            <a:spLocks noGrp="1"/>
          </p:cNvSpPr>
          <p:nvPr>
            <p:ph type="body" sz="quarter" idx="15" hasCustomPrompt="1"/>
          </p:nvPr>
        </p:nvSpPr>
        <p:spPr>
          <a:xfrm>
            <a:off x="6324600" y="3046576"/>
            <a:ext cx="5410199" cy="1030513"/>
          </a:xfrm>
        </p:spPr>
        <p:txBody>
          <a:bodyPr lIns="72000" rIns="0" bIns="144000" anchor="b" anchorCtr="0"/>
          <a:lstStyle>
            <a:lvl1pPr marL="0" indent="0" algn="r">
              <a:spcBef>
                <a:spcPts val="0"/>
              </a:spcBef>
              <a:buNone/>
              <a:defRPr sz="2400" b="1">
                <a:solidFill>
                  <a:schemeClr val="accent1"/>
                </a:solidFill>
              </a:defRPr>
            </a:lvl1pPr>
          </a:lstStyle>
          <a:p>
            <a:pPr lvl="0"/>
            <a:r>
              <a:rPr lang="en-US"/>
              <a:t>Add a key highlight here. </a:t>
            </a:r>
            <a:br>
              <a:rPr lang="en-US"/>
            </a:br>
            <a:r>
              <a:rPr lang="en-US"/>
              <a:t>Keep the text short. </a:t>
            </a:r>
          </a:p>
        </p:txBody>
      </p:sp>
      <p:sp>
        <p:nvSpPr>
          <p:cNvPr id="8" name="Date Placeholder 7">
            <a:extLst>
              <a:ext uri="{FF2B5EF4-FFF2-40B4-BE49-F238E27FC236}">
                <a16:creationId xmlns:a16="http://schemas.microsoft.com/office/drawing/2014/main" id="{F15CADCC-E6C6-320E-C35F-689078EC7580}"/>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0E9526DA-EAA0-CEC5-1295-29B2279A4C22}"/>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4C174345-0D53-3EB4-FAC4-9143C33935FC}"/>
              </a:ext>
            </a:extLst>
          </p:cNvPr>
          <p:cNvSpPr>
            <a:spLocks noGrp="1"/>
          </p:cNvSpPr>
          <p:nvPr>
            <p:ph type="sldNum" sz="quarter" idx="18"/>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13505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8D9D520-52E6-473B-91C6-89BE223C455B}"/>
              </a:ext>
            </a:extLst>
          </p:cNvPr>
          <p:cNvGraphicFramePr>
            <a:graphicFrameLocks noChangeAspect="1"/>
          </p:cNvGraphicFramePr>
          <p:nvPr>
            <p:custDataLst>
              <p:tags r:id="rId2"/>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98D9D520-52E6-473B-91C6-89BE223C45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Freeform: Shape 34">
            <a:extLst>
              <a:ext uri="{FF2B5EF4-FFF2-40B4-BE49-F238E27FC236}">
                <a16:creationId xmlns:a16="http://schemas.microsoft.com/office/drawing/2014/main" id="{3B8C0D89-F882-D12F-C37F-7D67FBA25D95}"/>
              </a:ext>
            </a:extLst>
          </p:cNvPr>
          <p:cNvSpPr/>
          <p:nvPr userDrawn="1"/>
        </p:nvSpPr>
        <p:spPr>
          <a:xfrm rot="231770">
            <a:off x="-183314" y="-266557"/>
            <a:ext cx="7619599" cy="6130253"/>
          </a:xfrm>
          <a:custGeom>
            <a:avLst/>
            <a:gdLst>
              <a:gd name="connsiteX0" fmla="*/ 0 w 6997793"/>
              <a:gd name="connsiteY0" fmla="*/ 472501 h 5629987"/>
              <a:gd name="connsiteX1" fmla="*/ 6997793 w 6997793"/>
              <a:gd name="connsiteY1" fmla="*/ 0 h 5629987"/>
              <a:gd name="connsiteX2" fmla="*/ 6167799 w 6997793"/>
              <a:gd name="connsiteY2" fmla="*/ 5075039 h 5629987"/>
              <a:gd name="connsiteX3" fmla="*/ 5407171 w 6997793"/>
              <a:gd name="connsiteY3" fmla="*/ 5621022 h 5629987"/>
              <a:gd name="connsiteX4" fmla="*/ 291121 w 6997793"/>
              <a:gd name="connsiteY4" fmla="*/ 4784034 h 5629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7793" h="5629987">
                <a:moveTo>
                  <a:pt x="0" y="472501"/>
                </a:moveTo>
                <a:lnTo>
                  <a:pt x="6997793" y="0"/>
                </a:lnTo>
                <a:lnTo>
                  <a:pt x="6167799" y="5075039"/>
                </a:lnTo>
                <a:cubicBezTo>
                  <a:pt x="6110492" y="5438682"/>
                  <a:pt x="5767690" y="5680415"/>
                  <a:pt x="5407171" y="5621022"/>
                </a:cubicBezTo>
                <a:lnTo>
                  <a:pt x="291121" y="47840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Text Placeholder 3">
            <a:extLst>
              <a:ext uri="{FF2B5EF4-FFF2-40B4-BE49-F238E27FC236}">
                <a16:creationId xmlns:a16="http://schemas.microsoft.com/office/drawing/2014/main" id="{1E9E1109-DE6C-78CC-D31F-519BDF685F21}"/>
              </a:ext>
            </a:extLst>
          </p:cNvPr>
          <p:cNvSpPr>
            <a:spLocks noGrp="1"/>
          </p:cNvSpPr>
          <p:nvPr>
            <p:ph type="body" sz="half" idx="2" hasCustomPrompt="1"/>
          </p:nvPr>
        </p:nvSpPr>
        <p:spPr>
          <a:xfrm>
            <a:off x="7975600" y="2527301"/>
            <a:ext cx="3759200" cy="3565523"/>
          </a:xfrm>
          <a:prstGeom prst="rect">
            <a:avLst/>
          </a:prstGeom>
          <a:noFill/>
        </p:spPr>
        <p:txBody>
          <a:bodyPr lIns="0" tIns="180000" rIns="72000" bIns="72000" anchor="t" anchorCtr="0"/>
          <a:lstStyle>
            <a:lvl1pPr marL="0" indent="0">
              <a:spcBef>
                <a:spcPts val="0"/>
              </a:spcBef>
              <a:buNone/>
              <a:defRPr sz="2400" b="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Stay within the text box. Increase or decrease font size if needed. </a:t>
            </a:r>
          </a:p>
        </p:txBody>
      </p:sp>
      <p:sp>
        <p:nvSpPr>
          <p:cNvPr id="2" name="Title 1">
            <a:extLst>
              <a:ext uri="{FF2B5EF4-FFF2-40B4-BE49-F238E27FC236}">
                <a16:creationId xmlns:a16="http://schemas.microsoft.com/office/drawing/2014/main" id="{57670B3A-B635-36CE-16DD-FDCBF8928893}"/>
              </a:ext>
            </a:extLst>
          </p:cNvPr>
          <p:cNvSpPr>
            <a:spLocks noGrp="1"/>
          </p:cNvSpPr>
          <p:nvPr>
            <p:ph type="title"/>
          </p:nvPr>
        </p:nvSpPr>
        <p:spPr>
          <a:xfrm>
            <a:off x="7975600" y="468637"/>
            <a:ext cx="3759200" cy="2058664"/>
          </a:xfrm>
        </p:spPr>
        <p:txBody>
          <a:bodyPr vert="horz" anchor="b"/>
          <a:lstStyle>
            <a:lvl1pPr>
              <a:defRPr sz="3200">
                <a:solidFill>
                  <a:schemeClr val="tx2"/>
                </a:solidFill>
              </a:defRPr>
            </a:lvl1pPr>
          </a:lstStyle>
          <a:p>
            <a:r>
              <a:rPr lang="en-US"/>
              <a:t>Click to edit Master title style</a:t>
            </a:r>
          </a:p>
        </p:txBody>
      </p:sp>
      <p:sp>
        <p:nvSpPr>
          <p:cNvPr id="30" name="Picture Placeholder 29">
            <a:extLst>
              <a:ext uri="{FF2B5EF4-FFF2-40B4-BE49-F238E27FC236}">
                <a16:creationId xmlns:a16="http://schemas.microsoft.com/office/drawing/2014/main" id="{8D9EDB11-206C-D99A-457B-7AB24C5F2862}"/>
              </a:ext>
            </a:extLst>
          </p:cNvPr>
          <p:cNvSpPr>
            <a:spLocks noGrp="1"/>
          </p:cNvSpPr>
          <p:nvPr>
            <p:ph type="pic" sz="quarter" idx="17" hasCustomPrompt="1"/>
          </p:nvPr>
        </p:nvSpPr>
        <p:spPr>
          <a:xfrm>
            <a:off x="1" y="0"/>
            <a:ext cx="6831274" cy="6557275"/>
          </a:xfrm>
          <a:custGeom>
            <a:avLst/>
            <a:gdLst>
              <a:gd name="connsiteX0" fmla="*/ 0 w 6719301"/>
              <a:gd name="connsiteY0" fmla="*/ 0 h 6449793"/>
              <a:gd name="connsiteX1" fmla="*/ 6719301 w 6719301"/>
              <a:gd name="connsiteY1" fmla="*/ 0 h 6449793"/>
              <a:gd name="connsiteX2" fmla="*/ 5918843 w 6719301"/>
              <a:gd name="connsiteY2" fmla="*/ 4894443 h 6449793"/>
              <a:gd name="connsiteX3" fmla="*/ 5205397 w 6719301"/>
              <a:gd name="connsiteY3" fmla="*/ 5406559 h 6449793"/>
              <a:gd name="connsiteX4" fmla="*/ 1 w 6719301"/>
              <a:gd name="connsiteY4" fmla="*/ 4554954 h 6449793"/>
              <a:gd name="connsiteX5" fmla="*/ 1 w 6719301"/>
              <a:gd name="connsiteY5" fmla="*/ 6449793 h 6449793"/>
              <a:gd name="connsiteX6" fmla="*/ 0 w 6719301"/>
              <a:gd name="connsiteY6" fmla="*/ 6449793 h 6449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9301" h="6449793">
                <a:moveTo>
                  <a:pt x="0" y="0"/>
                </a:moveTo>
                <a:lnTo>
                  <a:pt x="6719301" y="0"/>
                </a:lnTo>
                <a:lnTo>
                  <a:pt x="5918843" y="4894443"/>
                </a:lnTo>
                <a:cubicBezTo>
                  <a:pt x="5865090" y="5235529"/>
                  <a:pt x="5543553" y="5462267"/>
                  <a:pt x="5205397" y="5406559"/>
                </a:cubicBezTo>
                <a:lnTo>
                  <a:pt x="1" y="4554954"/>
                </a:lnTo>
                <a:lnTo>
                  <a:pt x="1" y="6449793"/>
                </a:lnTo>
                <a:lnTo>
                  <a:pt x="0" y="6449793"/>
                </a:lnTo>
                <a:close/>
              </a:path>
            </a:pathLst>
          </a:custGeom>
          <a:solidFill>
            <a:schemeClr val="bg1"/>
          </a:solidFill>
        </p:spPr>
        <p:txBody>
          <a:bodyPr wrap="square" lIns="1440000" rIns="1440000" bIns="1260000" anchor="ctr" anchorCtr="0">
            <a:noAutofit/>
          </a:bodyPr>
          <a:lstStyle>
            <a:lvl1pPr marL="0" indent="0" algn="ctr">
              <a:buNone/>
              <a:defRPr sz="1800">
                <a:solidFill>
                  <a:schemeClr val="tx1"/>
                </a:solidFill>
              </a:defRPr>
            </a:lvl1pPr>
          </a:lstStyle>
          <a:p>
            <a:r>
              <a:rPr lang="en-US"/>
              <a:t>Click on the icon to add an image inside the placeholder</a:t>
            </a:r>
          </a:p>
        </p:txBody>
      </p:sp>
      <p:graphicFrame>
        <p:nvGraphicFramePr>
          <p:cNvPr id="10" name="Object 9" hidden="1">
            <a:extLst>
              <a:ext uri="{FF2B5EF4-FFF2-40B4-BE49-F238E27FC236}">
                <a16:creationId xmlns:a16="http://schemas.microsoft.com/office/drawing/2014/main" id="{294886E0-836A-22F6-9FBE-C11DED15EBA9}"/>
              </a:ext>
            </a:extLst>
          </p:cNvPr>
          <p:cNvGraphicFramePr>
            <a:graphicFrameLocks noChangeAspect="1"/>
          </p:cNvGraphicFramePr>
          <p:nvPr userDrawn="1">
            <p:custDataLst>
              <p:tags r:id="rId3"/>
            </p:custDataLst>
            <p:extLst>
              <p:ext uri="{D42A27DB-BD31-4B8C-83A1-F6EECF244321}">
                <p14:modId xmlns:p14="http://schemas.microsoft.com/office/powerpoint/2010/main" val="174856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294886E0-836A-22F6-9FBE-C11DED15EB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Date Placeholder 14">
            <a:extLst>
              <a:ext uri="{FF2B5EF4-FFF2-40B4-BE49-F238E27FC236}">
                <a16:creationId xmlns:a16="http://schemas.microsoft.com/office/drawing/2014/main" id="{39EEA34D-DD16-AB58-C381-1780C1E27DF9}"/>
              </a:ext>
            </a:extLst>
          </p:cNvPr>
          <p:cNvSpPr>
            <a:spLocks noGrp="1"/>
          </p:cNvSpPr>
          <p:nvPr>
            <p:ph type="dt" sz="half" idx="18"/>
          </p:nvPr>
        </p:nvSpPr>
        <p:spPr/>
        <p:txBody>
          <a:bodyPr/>
          <a:lstStyle/>
          <a:p>
            <a:fld id="{BABFE860-21FD-4DA0-9E9A-92548ED661C3}" type="datetime1">
              <a:rPr lang="en-US" smtClean="0"/>
              <a:t>4/13/2023</a:t>
            </a:fld>
            <a:endParaRPr lang="en-US"/>
          </a:p>
        </p:txBody>
      </p:sp>
      <p:sp>
        <p:nvSpPr>
          <p:cNvPr id="16" name="Footer Placeholder 15">
            <a:extLst>
              <a:ext uri="{FF2B5EF4-FFF2-40B4-BE49-F238E27FC236}">
                <a16:creationId xmlns:a16="http://schemas.microsoft.com/office/drawing/2014/main" id="{38C6FABF-E488-5048-A75C-A68F473FE953}"/>
              </a:ext>
            </a:extLst>
          </p:cNvPr>
          <p:cNvSpPr>
            <a:spLocks noGrp="1"/>
          </p:cNvSpPr>
          <p:nvPr>
            <p:ph type="ftr" sz="quarter" idx="19"/>
          </p:nvPr>
        </p:nvSpPr>
        <p:spPr/>
        <p:txBody>
          <a:bodyPr/>
          <a:lstStyle/>
          <a:p>
            <a:endParaRPr lang="en-US"/>
          </a:p>
        </p:txBody>
      </p:sp>
      <p:sp>
        <p:nvSpPr>
          <p:cNvPr id="17" name="Slide Number Placeholder 16">
            <a:extLst>
              <a:ext uri="{FF2B5EF4-FFF2-40B4-BE49-F238E27FC236}">
                <a16:creationId xmlns:a16="http://schemas.microsoft.com/office/drawing/2014/main" id="{5F269634-E41D-79A7-8181-B5B8A590210F}"/>
              </a:ext>
            </a:extLst>
          </p:cNvPr>
          <p:cNvSpPr>
            <a:spLocks noGrp="1"/>
          </p:cNvSpPr>
          <p:nvPr>
            <p:ph type="sldNum" sz="quarter" idx="20"/>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2007504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lumns ">
    <p:bg>
      <p:bgPr>
        <a:solidFill>
          <a:schemeClr val="bg1"/>
        </a:solidFill>
        <a:effectLst/>
      </p:bgPr>
    </p:bg>
    <p:spTree>
      <p:nvGrpSpPr>
        <p:cNvPr id="1" name=""/>
        <p:cNvGrpSpPr/>
        <p:nvPr/>
      </p:nvGrpSpPr>
      <p:grpSpPr>
        <a:xfrm>
          <a:off x="0" y="0"/>
          <a:ext cx="0" cy="0"/>
          <a:chOff x="0" y="0"/>
          <a:chExt cx="0" cy="0"/>
        </a:xfrm>
      </p:grpSpPr>
      <p:sp>
        <p:nvSpPr>
          <p:cNvPr id="35" name="Rectangle: Top Corners Rounded 34">
            <a:extLst>
              <a:ext uri="{FF2B5EF4-FFF2-40B4-BE49-F238E27FC236}">
                <a16:creationId xmlns:a16="http://schemas.microsoft.com/office/drawing/2014/main" id="{D9DBEB03-B3B9-8BA1-DF6C-D87168734A96}"/>
              </a:ext>
            </a:extLst>
          </p:cNvPr>
          <p:cNvSpPr/>
          <p:nvPr/>
        </p:nvSpPr>
        <p:spPr>
          <a:xfrm>
            <a:off x="457200" y="1188377"/>
            <a:ext cx="2727091" cy="4904448"/>
          </a:xfrm>
          <a:prstGeom prst="round2SameRect">
            <a:avLst>
              <a:gd name="adj1" fmla="val 2245"/>
              <a:gd name="adj2" fmla="val 11069"/>
            </a:avLst>
          </a:prstGeom>
          <a:solidFill>
            <a:schemeClr val="tx2"/>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Top Corners Rounded 35">
            <a:extLst>
              <a:ext uri="{FF2B5EF4-FFF2-40B4-BE49-F238E27FC236}">
                <a16:creationId xmlns:a16="http://schemas.microsoft.com/office/drawing/2014/main" id="{18C2826F-0757-47CA-6AD9-B8B9B5E69890}"/>
              </a:ext>
            </a:extLst>
          </p:cNvPr>
          <p:cNvSpPr>
            <a:spLocks/>
          </p:cNvSpPr>
          <p:nvPr/>
        </p:nvSpPr>
        <p:spPr>
          <a:xfrm>
            <a:off x="3303660" y="1188377"/>
            <a:ext cx="2727091" cy="4904448"/>
          </a:xfrm>
          <a:prstGeom prst="round2SameRect">
            <a:avLst>
              <a:gd name="adj1" fmla="val 0"/>
              <a:gd name="adj2" fmla="val 10338"/>
            </a:avLst>
          </a:prstGeom>
          <a:solidFill>
            <a:schemeClr val="accent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Top Corners Rounded 38">
            <a:extLst>
              <a:ext uri="{FF2B5EF4-FFF2-40B4-BE49-F238E27FC236}">
                <a16:creationId xmlns:a16="http://schemas.microsoft.com/office/drawing/2014/main" id="{11C729C8-9521-FC15-6909-AA67737D4CDC}"/>
              </a:ext>
            </a:extLst>
          </p:cNvPr>
          <p:cNvSpPr>
            <a:spLocks/>
          </p:cNvSpPr>
          <p:nvPr/>
        </p:nvSpPr>
        <p:spPr>
          <a:xfrm>
            <a:off x="6150120" y="1188377"/>
            <a:ext cx="2727091" cy="4904448"/>
          </a:xfrm>
          <a:prstGeom prst="round2SameRect">
            <a:avLst>
              <a:gd name="adj1" fmla="val 0"/>
              <a:gd name="adj2" fmla="val 10804"/>
            </a:avLst>
          </a:prstGeom>
          <a:solidFill>
            <a:schemeClr val="accent3"/>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Group 39">
            <a:extLst>
              <a:ext uri="{FF2B5EF4-FFF2-40B4-BE49-F238E27FC236}">
                <a16:creationId xmlns:a16="http://schemas.microsoft.com/office/drawing/2014/main" id="{323CFA15-26AF-0F91-96B9-CC62BD69083B}"/>
              </a:ext>
            </a:extLst>
          </p:cNvPr>
          <p:cNvGrpSpPr/>
          <p:nvPr/>
        </p:nvGrpSpPr>
        <p:grpSpPr>
          <a:xfrm>
            <a:off x="645016" y="870120"/>
            <a:ext cx="2351459" cy="1229172"/>
            <a:chOff x="2800469" y="-917156"/>
            <a:chExt cx="6696862" cy="3500633"/>
          </a:xfrm>
          <a:solidFill>
            <a:schemeClr val="bg1">
              <a:alpha val="10000"/>
            </a:schemeClr>
          </a:solidFill>
        </p:grpSpPr>
        <p:sp>
          <p:nvSpPr>
            <p:cNvPr id="41" name="Freeform: Shape 40">
              <a:extLst>
                <a:ext uri="{FF2B5EF4-FFF2-40B4-BE49-F238E27FC236}">
                  <a16:creationId xmlns:a16="http://schemas.microsoft.com/office/drawing/2014/main" id="{F4E91725-B867-3418-E53D-33C665B47E14}"/>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2" name="Freeform: Shape 41">
              <a:extLst>
                <a:ext uri="{FF2B5EF4-FFF2-40B4-BE49-F238E27FC236}">
                  <a16:creationId xmlns:a16="http://schemas.microsoft.com/office/drawing/2014/main" id="{A65CC5B5-FED1-6585-A8DB-6A78E9A040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3" name="Freeform: Shape 42">
              <a:extLst>
                <a:ext uri="{FF2B5EF4-FFF2-40B4-BE49-F238E27FC236}">
                  <a16:creationId xmlns:a16="http://schemas.microsoft.com/office/drawing/2014/main" id="{3F9EB378-1372-BB1A-036F-31C44DDC33F1}"/>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4" name="Freeform: Shape 43">
              <a:extLst>
                <a:ext uri="{FF2B5EF4-FFF2-40B4-BE49-F238E27FC236}">
                  <a16:creationId xmlns:a16="http://schemas.microsoft.com/office/drawing/2014/main" id="{55043A50-B38D-7227-ECD9-5589FF0D78B2}"/>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5" name="Freeform: Shape 44">
              <a:extLst>
                <a:ext uri="{FF2B5EF4-FFF2-40B4-BE49-F238E27FC236}">
                  <a16:creationId xmlns:a16="http://schemas.microsoft.com/office/drawing/2014/main" id="{8E32C587-9027-6896-F784-480501623D30}"/>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8C7A8FDA-AB0E-F721-FE99-D6F7EA43E8F9}"/>
              </a:ext>
            </a:extLst>
          </p:cNvPr>
          <p:cNvGrpSpPr/>
          <p:nvPr/>
        </p:nvGrpSpPr>
        <p:grpSpPr>
          <a:xfrm>
            <a:off x="3491476" y="870120"/>
            <a:ext cx="2351459" cy="1229172"/>
            <a:chOff x="2800469" y="-917156"/>
            <a:chExt cx="6696862" cy="3500633"/>
          </a:xfrm>
          <a:solidFill>
            <a:schemeClr val="bg1">
              <a:alpha val="10000"/>
            </a:schemeClr>
          </a:solidFill>
        </p:grpSpPr>
        <p:sp>
          <p:nvSpPr>
            <p:cNvPr id="47" name="Freeform: Shape 46">
              <a:extLst>
                <a:ext uri="{FF2B5EF4-FFF2-40B4-BE49-F238E27FC236}">
                  <a16:creationId xmlns:a16="http://schemas.microsoft.com/office/drawing/2014/main" id="{241EF789-EFAD-A2A5-451F-A127954C1BEF}"/>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8" name="Freeform: Shape 47">
              <a:extLst>
                <a:ext uri="{FF2B5EF4-FFF2-40B4-BE49-F238E27FC236}">
                  <a16:creationId xmlns:a16="http://schemas.microsoft.com/office/drawing/2014/main" id="{A82C49BE-CA3F-AEDA-5373-1D8C2ED6D732}"/>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49" name="Freeform: Shape 48">
              <a:extLst>
                <a:ext uri="{FF2B5EF4-FFF2-40B4-BE49-F238E27FC236}">
                  <a16:creationId xmlns:a16="http://schemas.microsoft.com/office/drawing/2014/main" id="{A32A27C6-66B5-624E-9547-74B602A100E6}"/>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0" name="Freeform: Shape 49">
              <a:extLst>
                <a:ext uri="{FF2B5EF4-FFF2-40B4-BE49-F238E27FC236}">
                  <a16:creationId xmlns:a16="http://schemas.microsoft.com/office/drawing/2014/main" id="{3F1A11C1-00AF-4B07-4696-BD51A46162ED}"/>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1" name="Freeform: Shape 50">
              <a:extLst>
                <a:ext uri="{FF2B5EF4-FFF2-40B4-BE49-F238E27FC236}">
                  <a16:creationId xmlns:a16="http://schemas.microsoft.com/office/drawing/2014/main" id="{35126FF4-767B-89D5-9C3A-682E9DC07B6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grpSp>
        <p:nvGrpSpPr>
          <p:cNvPr id="52" name="Group 51">
            <a:extLst>
              <a:ext uri="{FF2B5EF4-FFF2-40B4-BE49-F238E27FC236}">
                <a16:creationId xmlns:a16="http://schemas.microsoft.com/office/drawing/2014/main" id="{0799616B-FDC8-73F9-AAB9-B097532EF8DE}"/>
              </a:ext>
            </a:extLst>
          </p:cNvPr>
          <p:cNvGrpSpPr/>
          <p:nvPr/>
        </p:nvGrpSpPr>
        <p:grpSpPr>
          <a:xfrm>
            <a:off x="6337936" y="870120"/>
            <a:ext cx="2351459" cy="1229172"/>
            <a:chOff x="2800469" y="-917156"/>
            <a:chExt cx="6696862" cy="3500633"/>
          </a:xfrm>
          <a:solidFill>
            <a:schemeClr val="bg1">
              <a:alpha val="10000"/>
            </a:schemeClr>
          </a:solidFill>
        </p:grpSpPr>
        <p:sp>
          <p:nvSpPr>
            <p:cNvPr id="53" name="Freeform: Shape 52">
              <a:extLst>
                <a:ext uri="{FF2B5EF4-FFF2-40B4-BE49-F238E27FC236}">
                  <a16:creationId xmlns:a16="http://schemas.microsoft.com/office/drawing/2014/main" id="{7F0F8EFC-D5B2-D830-ACB2-6744C96CA451}"/>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4" name="Freeform: Shape 53">
              <a:extLst>
                <a:ext uri="{FF2B5EF4-FFF2-40B4-BE49-F238E27FC236}">
                  <a16:creationId xmlns:a16="http://schemas.microsoft.com/office/drawing/2014/main" id="{F908C9AF-CE8C-D688-D1A1-A4652D8CD4FD}"/>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5" name="Freeform: Shape 54">
              <a:extLst>
                <a:ext uri="{FF2B5EF4-FFF2-40B4-BE49-F238E27FC236}">
                  <a16:creationId xmlns:a16="http://schemas.microsoft.com/office/drawing/2014/main" id="{006C3E78-9DB7-913D-0425-AFDE7D4CBBF0}"/>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6" name="Freeform: Shape 55">
              <a:extLst>
                <a:ext uri="{FF2B5EF4-FFF2-40B4-BE49-F238E27FC236}">
                  <a16:creationId xmlns:a16="http://schemas.microsoft.com/office/drawing/2014/main" id="{5E88D2DA-35BE-633D-0E62-4473A18FB2C1}"/>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57" name="Freeform: Shape 56">
              <a:extLst>
                <a:ext uri="{FF2B5EF4-FFF2-40B4-BE49-F238E27FC236}">
                  <a16:creationId xmlns:a16="http://schemas.microsoft.com/office/drawing/2014/main" id="{6DE140BF-8F42-0F58-6761-26A433E05669}"/>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58" name="Rectangle: Top Corners Rounded 57">
            <a:extLst>
              <a:ext uri="{FF2B5EF4-FFF2-40B4-BE49-F238E27FC236}">
                <a16:creationId xmlns:a16="http://schemas.microsoft.com/office/drawing/2014/main" id="{84E08997-BC6B-5755-6492-0F4DB09DB316}"/>
              </a:ext>
            </a:extLst>
          </p:cNvPr>
          <p:cNvSpPr>
            <a:spLocks/>
          </p:cNvSpPr>
          <p:nvPr/>
        </p:nvSpPr>
        <p:spPr>
          <a:xfrm>
            <a:off x="8996580" y="1188377"/>
            <a:ext cx="2727091" cy="4904448"/>
          </a:xfrm>
          <a:prstGeom prst="round2SameRect">
            <a:avLst>
              <a:gd name="adj1" fmla="val 0"/>
              <a:gd name="adj2" fmla="val 10618"/>
            </a:avLst>
          </a:prstGeom>
          <a:solidFill>
            <a:schemeClr val="accent4"/>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a:extLst>
              <a:ext uri="{FF2B5EF4-FFF2-40B4-BE49-F238E27FC236}">
                <a16:creationId xmlns:a16="http://schemas.microsoft.com/office/drawing/2014/main" id="{E4A58BE3-D749-2953-966F-68450758825B}"/>
              </a:ext>
            </a:extLst>
          </p:cNvPr>
          <p:cNvGrpSpPr/>
          <p:nvPr/>
        </p:nvGrpSpPr>
        <p:grpSpPr>
          <a:xfrm>
            <a:off x="9184396" y="870120"/>
            <a:ext cx="2351459" cy="1229172"/>
            <a:chOff x="2800469" y="-917156"/>
            <a:chExt cx="6696862" cy="3500633"/>
          </a:xfrm>
          <a:solidFill>
            <a:schemeClr val="bg1">
              <a:alpha val="10000"/>
            </a:schemeClr>
          </a:solidFill>
        </p:grpSpPr>
        <p:sp>
          <p:nvSpPr>
            <p:cNvPr id="60" name="Freeform: Shape 59">
              <a:extLst>
                <a:ext uri="{FF2B5EF4-FFF2-40B4-BE49-F238E27FC236}">
                  <a16:creationId xmlns:a16="http://schemas.microsoft.com/office/drawing/2014/main" id="{F761E687-0C48-7B2C-2946-761FFD9E3346}"/>
                </a:ext>
              </a:extLst>
            </p:cNvPr>
            <p:cNvSpPr/>
            <p:nvPr/>
          </p:nvSpPr>
          <p:spPr>
            <a:xfrm rot="18900000" flipV="1">
              <a:off x="5996698" y="-131829"/>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1" name="Freeform: Shape 60">
              <a:extLst>
                <a:ext uri="{FF2B5EF4-FFF2-40B4-BE49-F238E27FC236}">
                  <a16:creationId xmlns:a16="http://schemas.microsoft.com/office/drawing/2014/main" id="{07CFDEA5-5D33-954A-4216-A0E0192145A9}"/>
                </a:ext>
              </a:extLst>
            </p:cNvPr>
            <p:cNvSpPr/>
            <p:nvPr/>
          </p:nvSpPr>
          <p:spPr>
            <a:xfrm rot="2700000" flipH="1" flipV="1">
              <a:off x="2694665" y="-131828"/>
              <a:ext cx="3500633" cy="1929978"/>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2" name="Freeform: Shape 61">
              <a:extLst>
                <a:ext uri="{FF2B5EF4-FFF2-40B4-BE49-F238E27FC236}">
                  <a16:creationId xmlns:a16="http://schemas.microsoft.com/office/drawing/2014/main" id="{92B1BD2D-A908-54C9-89C2-BCCF6A3BD5FF}"/>
                </a:ext>
              </a:extLst>
            </p:cNvPr>
            <p:cNvSpPr/>
            <p:nvPr/>
          </p:nvSpPr>
          <p:spPr>
            <a:xfrm rot="5400000">
              <a:off x="8254363" y="-203062"/>
              <a:ext cx="934098" cy="1340225"/>
            </a:xfrm>
            <a:custGeom>
              <a:avLst/>
              <a:gdLst>
                <a:gd name="connsiteX0" fmla="*/ 0 w 934098"/>
                <a:gd name="connsiteY0" fmla="*/ 1340225 h 1340225"/>
                <a:gd name="connsiteX1" fmla="*/ 0 w 934098"/>
                <a:gd name="connsiteY1" fmla="*/ 7558 h 1340225"/>
                <a:gd name="connsiteX2" fmla="*/ 78864 w 934098"/>
                <a:gd name="connsiteY2" fmla="*/ 0 h 1340225"/>
                <a:gd name="connsiteX3" fmla="*/ 871534 w 934098"/>
                <a:gd name="connsiteY3" fmla="*/ 328335 h 1340225"/>
                <a:gd name="connsiteX4" fmla="*/ 934098 w 934098"/>
                <a:gd name="connsiteY4" fmla="*/ 390899 h 1340225"/>
                <a:gd name="connsiteX5" fmla="*/ 934098 w 934098"/>
                <a:gd name="connsiteY5" fmla="*/ 406126 h 13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098" h="1340225">
                  <a:moveTo>
                    <a:pt x="0" y="1340225"/>
                  </a:moveTo>
                  <a:lnTo>
                    <a:pt x="0" y="7558"/>
                  </a:lnTo>
                  <a:lnTo>
                    <a:pt x="78864" y="0"/>
                  </a:lnTo>
                  <a:cubicBezTo>
                    <a:pt x="365754" y="0"/>
                    <a:pt x="652644" y="109443"/>
                    <a:pt x="871534" y="328335"/>
                  </a:cubicBezTo>
                  <a:lnTo>
                    <a:pt x="934098" y="390899"/>
                  </a:lnTo>
                  <a:lnTo>
                    <a:pt x="934098" y="406126"/>
                  </a:ln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3" name="Freeform: Shape 62">
              <a:extLst>
                <a:ext uri="{FF2B5EF4-FFF2-40B4-BE49-F238E27FC236}">
                  <a16:creationId xmlns:a16="http://schemas.microsoft.com/office/drawing/2014/main" id="{0417D789-5D59-96B4-8F04-FA1DD72D85B5}"/>
                </a:ext>
              </a:extLst>
            </p:cNvPr>
            <p:cNvSpPr/>
            <p:nvPr/>
          </p:nvSpPr>
          <p:spPr>
            <a:xfrm rot="10800000">
              <a:off x="4345091" y="556154"/>
              <a:ext cx="3500635" cy="1929977"/>
            </a:xfrm>
            <a:custGeom>
              <a:avLst/>
              <a:gdLst>
                <a:gd name="connsiteX0" fmla="*/ 987509 w 1975017"/>
                <a:gd name="connsiteY0" fmla="*/ 243023 h 1088871"/>
                <a:gd name="connsiteX1" fmla="*/ 987507 w 1975017"/>
                <a:gd name="connsiteY1" fmla="*/ 243024 h 1088871"/>
                <a:gd name="connsiteX2" fmla="*/ 987509 w 1975017"/>
                <a:gd name="connsiteY2" fmla="*/ 243026 h 1088871"/>
                <a:gd name="connsiteX3" fmla="*/ 987510 w 1975017"/>
                <a:gd name="connsiteY3" fmla="*/ 243024 h 1088871"/>
                <a:gd name="connsiteX4" fmla="*/ 482513 w 1975017"/>
                <a:gd name="connsiteY4" fmla="*/ 0 h 1088871"/>
                <a:gd name="connsiteX5" fmla="*/ 551126 w 1975017"/>
                <a:gd name="connsiteY5" fmla="*/ 6576 h 1088871"/>
                <a:gd name="connsiteX6" fmla="*/ 551126 w 1975017"/>
                <a:gd name="connsiteY6" fmla="*/ 6578 h 1088871"/>
                <a:gd name="connsiteX7" fmla="*/ 556951 w 1975017"/>
                <a:gd name="connsiteY7" fmla="*/ 7137 h 1088871"/>
                <a:gd name="connsiteX8" fmla="*/ 591699 w 1975017"/>
                <a:gd name="connsiteY8" fmla="*/ 41885 h 1088871"/>
                <a:gd name="connsiteX9" fmla="*/ 868954 w 1975017"/>
                <a:gd name="connsiteY9" fmla="*/ 189393 h 1088871"/>
                <a:gd name="connsiteX10" fmla="*/ 940759 w 1975017"/>
                <a:gd name="connsiteY10" fmla="*/ 196275 h 1088871"/>
                <a:gd name="connsiteX11" fmla="*/ 985267 w 1975017"/>
                <a:gd name="connsiteY11" fmla="*/ 240784 h 1088871"/>
                <a:gd name="connsiteX12" fmla="*/ 985267 w 1975017"/>
                <a:gd name="connsiteY12" fmla="*/ 240781 h 1088871"/>
                <a:gd name="connsiteX13" fmla="*/ 940759 w 1975017"/>
                <a:gd name="connsiteY13" fmla="*/ 196273 h 1088871"/>
                <a:gd name="connsiteX14" fmla="*/ 971557 w 1975017"/>
                <a:gd name="connsiteY14" fmla="*/ 199226 h 1088871"/>
                <a:gd name="connsiteX15" fmla="*/ 985267 w 1975017"/>
                <a:gd name="connsiteY15" fmla="*/ 197912 h 1088871"/>
                <a:gd name="connsiteX16" fmla="*/ 985267 w 1975017"/>
                <a:gd name="connsiteY16" fmla="*/ 197482 h 1088871"/>
                <a:gd name="connsiteX17" fmla="*/ 987509 w 1975017"/>
                <a:gd name="connsiteY17" fmla="*/ 197697 h 1088871"/>
                <a:gd name="connsiteX18" fmla="*/ 989750 w 1975017"/>
                <a:gd name="connsiteY18" fmla="*/ 197482 h 1088871"/>
                <a:gd name="connsiteX19" fmla="*/ 989750 w 1975017"/>
                <a:gd name="connsiteY19" fmla="*/ 197912 h 1088871"/>
                <a:gd name="connsiteX20" fmla="*/ 1003460 w 1975017"/>
                <a:gd name="connsiteY20" fmla="*/ 199226 h 1088871"/>
                <a:gd name="connsiteX21" fmla="*/ 1034258 w 1975017"/>
                <a:gd name="connsiteY21" fmla="*/ 196273 h 1088871"/>
                <a:gd name="connsiteX22" fmla="*/ 989750 w 1975017"/>
                <a:gd name="connsiteY22" fmla="*/ 240781 h 1088871"/>
                <a:gd name="connsiteX23" fmla="*/ 989750 w 1975017"/>
                <a:gd name="connsiteY23" fmla="*/ 240784 h 1088871"/>
                <a:gd name="connsiteX24" fmla="*/ 1034258 w 1975017"/>
                <a:gd name="connsiteY24" fmla="*/ 196275 h 1088871"/>
                <a:gd name="connsiteX25" fmla="*/ 1106063 w 1975017"/>
                <a:gd name="connsiteY25" fmla="*/ 189393 h 1088871"/>
                <a:gd name="connsiteX26" fmla="*/ 1383318 w 1975017"/>
                <a:gd name="connsiteY26" fmla="*/ 41885 h 1088871"/>
                <a:gd name="connsiteX27" fmla="*/ 1418066 w 1975017"/>
                <a:gd name="connsiteY27" fmla="*/ 7137 h 1088871"/>
                <a:gd name="connsiteX28" fmla="*/ 1423891 w 1975017"/>
                <a:gd name="connsiteY28" fmla="*/ 6578 h 1088871"/>
                <a:gd name="connsiteX29" fmla="*/ 1423891 w 1975017"/>
                <a:gd name="connsiteY29" fmla="*/ 6576 h 1088871"/>
                <a:gd name="connsiteX30" fmla="*/ 1492504 w 1975017"/>
                <a:gd name="connsiteY30" fmla="*/ 0 h 1088871"/>
                <a:gd name="connsiteX31" fmla="*/ 1939719 w 1975017"/>
                <a:gd name="connsiteY31" fmla="*/ 185243 h 1088871"/>
                <a:gd name="connsiteX32" fmla="*/ 1975017 w 1975017"/>
                <a:gd name="connsiteY32" fmla="*/ 220541 h 1088871"/>
                <a:gd name="connsiteX33" fmla="*/ 1975017 w 1975017"/>
                <a:gd name="connsiteY33" fmla="*/ 229132 h 1088871"/>
                <a:gd name="connsiteX34" fmla="*/ 1423892 w 1975017"/>
                <a:gd name="connsiteY34" fmla="*/ 780257 h 1088871"/>
                <a:gd name="connsiteX35" fmla="*/ 1423892 w 1975017"/>
                <a:gd name="connsiteY35" fmla="*/ 780260 h 1088871"/>
                <a:gd name="connsiteX36" fmla="*/ 1194513 w 1975017"/>
                <a:gd name="connsiteY36" fmla="*/ 1009639 h 1088871"/>
                <a:gd name="connsiteX37" fmla="*/ 1003230 w 1975017"/>
                <a:gd name="connsiteY37" fmla="*/ 1088871 h 1088871"/>
                <a:gd name="connsiteX38" fmla="*/ 987509 w 1975017"/>
                <a:gd name="connsiteY38" fmla="*/ 1087364 h 1088871"/>
                <a:gd name="connsiteX39" fmla="*/ 971787 w 1975017"/>
                <a:gd name="connsiteY39" fmla="*/ 1088871 h 1088871"/>
                <a:gd name="connsiteX40" fmla="*/ 780504 w 1975017"/>
                <a:gd name="connsiteY40" fmla="*/ 1009639 h 1088871"/>
                <a:gd name="connsiteX41" fmla="*/ 551125 w 1975017"/>
                <a:gd name="connsiteY41" fmla="*/ 780260 h 1088871"/>
                <a:gd name="connsiteX42" fmla="*/ 551125 w 1975017"/>
                <a:gd name="connsiteY42" fmla="*/ 780257 h 1088871"/>
                <a:gd name="connsiteX43" fmla="*/ 0 w 1975017"/>
                <a:gd name="connsiteY43" fmla="*/ 229132 h 1088871"/>
                <a:gd name="connsiteX44" fmla="*/ 0 w 1975017"/>
                <a:gd name="connsiteY44" fmla="*/ 220541 h 1088871"/>
                <a:gd name="connsiteX45" fmla="*/ 35298 w 1975017"/>
                <a:gd name="connsiteY45" fmla="*/ 185243 h 1088871"/>
                <a:gd name="connsiteX46" fmla="*/ 482513 w 1975017"/>
                <a:gd name="connsiteY46" fmla="*/ 0 h 108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75017" h="1088871">
                  <a:moveTo>
                    <a:pt x="987509" y="243023"/>
                  </a:moveTo>
                  <a:lnTo>
                    <a:pt x="987507" y="243024"/>
                  </a:lnTo>
                  <a:lnTo>
                    <a:pt x="987509" y="243026"/>
                  </a:lnTo>
                  <a:lnTo>
                    <a:pt x="987510" y="243024"/>
                  </a:lnTo>
                  <a:close/>
                  <a:moveTo>
                    <a:pt x="482513" y="0"/>
                  </a:moveTo>
                  <a:lnTo>
                    <a:pt x="551126" y="6576"/>
                  </a:lnTo>
                  <a:lnTo>
                    <a:pt x="551126" y="6578"/>
                  </a:lnTo>
                  <a:lnTo>
                    <a:pt x="556951" y="7137"/>
                  </a:lnTo>
                  <a:lnTo>
                    <a:pt x="591699" y="41885"/>
                  </a:lnTo>
                  <a:cubicBezTo>
                    <a:pt x="670370" y="120556"/>
                    <a:pt x="767371" y="169725"/>
                    <a:pt x="868954" y="189393"/>
                  </a:cubicBezTo>
                  <a:lnTo>
                    <a:pt x="940759" y="196275"/>
                  </a:lnTo>
                  <a:lnTo>
                    <a:pt x="985267" y="240784"/>
                  </a:lnTo>
                  <a:lnTo>
                    <a:pt x="985267" y="240781"/>
                  </a:lnTo>
                  <a:lnTo>
                    <a:pt x="940759" y="196273"/>
                  </a:lnTo>
                  <a:lnTo>
                    <a:pt x="971557" y="199226"/>
                  </a:lnTo>
                  <a:lnTo>
                    <a:pt x="985267" y="197912"/>
                  </a:lnTo>
                  <a:lnTo>
                    <a:pt x="985267" y="197482"/>
                  </a:lnTo>
                  <a:lnTo>
                    <a:pt x="987509" y="197697"/>
                  </a:lnTo>
                  <a:lnTo>
                    <a:pt x="989750" y="197482"/>
                  </a:lnTo>
                  <a:lnTo>
                    <a:pt x="989750" y="197912"/>
                  </a:lnTo>
                  <a:lnTo>
                    <a:pt x="1003460" y="199226"/>
                  </a:lnTo>
                  <a:lnTo>
                    <a:pt x="1034258" y="196273"/>
                  </a:lnTo>
                  <a:lnTo>
                    <a:pt x="989750" y="240781"/>
                  </a:lnTo>
                  <a:lnTo>
                    <a:pt x="989750" y="240784"/>
                  </a:lnTo>
                  <a:lnTo>
                    <a:pt x="1034258" y="196275"/>
                  </a:lnTo>
                  <a:lnTo>
                    <a:pt x="1106063" y="189393"/>
                  </a:lnTo>
                  <a:cubicBezTo>
                    <a:pt x="1207646" y="169725"/>
                    <a:pt x="1304647" y="120556"/>
                    <a:pt x="1383318" y="41885"/>
                  </a:cubicBezTo>
                  <a:lnTo>
                    <a:pt x="1418066" y="7137"/>
                  </a:lnTo>
                  <a:lnTo>
                    <a:pt x="1423891" y="6578"/>
                  </a:lnTo>
                  <a:lnTo>
                    <a:pt x="1423891" y="6576"/>
                  </a:lnTo>
                  <a:lnTo>
                    <a:pt x="1492504" y="0"/>
                  </a:lnTo>
                  <a:cubicBezTo>
                    <a:pt x="1654364" y="0"/>
                    <a:pt x="1816224" y="61747"/>
                    <a:pt x="1939719" y="185243"/>
                  </a:cubicBezTo>
                  <a:lnTo>
                    <a:pt x="1975017" y="220541"/>
                  </a:lnTo>
                  <a:lnTo>
                    <a:pt x="1975017" y="229132"/>
                  </a:lnTo>
                  <a:lnTo>
                    <a:pt x="1423892" y="780257"/>
                  </a:lnTo>
                  <a:lnTo>
                    <a:pt x="1423892" y="780260"/>
                  </a:lnTo>
                  <a:lnTo>
                    <a:pt x="1194513" y="1009639"/>
                  </a:lnTo>
                  <a:cubicBezTo>
                    <a:pt x="1141692" y="1062461"/>
                    <a:pt x="1072461" y="1088871"/>
                    <a:pt x="1003230" y="1088871"/>
                  </a:cubicBezTo>
                  <a:lnTo>
                    <a:pt x="987509" y="1087364"/>
                  </a:lnTo>
                  <a:lnTo>
                    <a:pt x="971787" y="1088871"/>
                  </a:lnTo>
                  <a:cubicBezTo>
                    <a:pt x="902556" y="1088871"/>
                    <a:pt x="833325" y="1062461"/>
                    <a:pt x="780504" y="1009639"/>
                  </a:cubicBezTo>
                  <a:lnTo>
                    <a:pt x="551125" y="780260"/>
                  </a:lnTo>
                  <a:lnTo>
                    <a:pt x="551125" y="780257"/>
                  </a:lnTo>
                  <a:lnTo>
                    <a:pt x="0" y="229132"/>
                  </a:lnTo>
                  <a:lnTo>
                    <a:pt x="0" y="220541"/>
                  </a:lnTo>
                  <a:lnTo>
                    <a:pt x="35298" y="185243"/>
                  </a:lnTo>
                  <a:cubicBezTo>
                    <a:pt x="158793" y="61747"/>
                    <a:pt x="320653" y="0"/>
                    <a:pt x="482513"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sp>
          <p:nvSpPr>
            <p:cNvPr id="64" name="Freeform: Shape 63">
              <a:extLst>
                <a:ext uri="{FF2B5EF4-FFF2-40B4-BE49-F238E27FC236}">
                  <a16:creationId xmlns:a16="http://schemas.microsoft.com/office/drawing/2014/main" id="{BE2FFD9D-1EB9-1962-9148-34D8197EF0B5}"/>
                </a:ext>
              </a:extLst>
            </p:cNvPr>
            <p:cNvSpPr/>
            <p:nvPr/>
          </p:nvSpPr>
          <p:spPr>
            <a:xfrm rot="16200000" flipH="1">
              <a:off x="3003533" y="-203064"/>
              <a:ext cx="934100" cy="1340228"/>
            </a:xfrm>
            <a:custGeom>
              <a:avLst/>
              <a:gdLst>
                <a:gd name="connsiteX0" fmla="*/ 0 w 934100"/>
                <a:gd name="connsiteY0" fmla="*/ 7559 h 1340228"/>
                <a:gd name="connsiteX1" fmla="*/ 0 w 934100"/>
                <a:gd name="connsiteY1" fmla="*/ 1340228 h 1340228"/>
                <a:gd name="connsiteX2" fmla="*/ 934100 w 934100"/>
                <a:gd name="connsiteY2" fmla="*/ 406127 h 1340228"/>
                <a:gd name="connsiteX3" fmla="*/ 934100 w 934100"/>
                <a:gd name="connsiteY3" fmla="*/ 390900 h 1340228"/>
                <a:gd name="connsiteX4" fmla="*/ 871536 w 934100"/>
                <a:gd name="connsiteY4" fmla="*/ 328336 h 1340228"/>
                <a:gd name="connsiteX5" fmla="*/ 78866 w 934100"/>
                <a:gd name="connsiteY5" fmla="*/ 0 h 134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4100" h="1340228">
                  <a:moveTo>
                    <a:pt x="0" y="7559"/>
                  </a:moveTo>
                  <a:lnTo>
                    <a:pt x="0" y="1340228"/>
                  </a:lnTo>
                  <a:lnTo>
                    <a:pt x="934100" y="406127"/>
                  </a:lnTo>
                  <a:lnTo>
                    <a:pt x="934100" y="390900"/>
                  </a:lnTo>
                  <a:lnTo>
                    <a:pt x="871536" y="328336"/>
                  </a:lnTo>
                  <a:cubicBezTo>
                    <a:pt x="652646" y="109444"/>
                    <a:pt x="365756" y="0"/>
                    <a:pt x="78866" y="0"/>
                  </a:cubicBezTo>
                  <a:close/>
                </a:path>
              </a:pathLst>
            </a:custGeom>
            <a:grpFill/>
            <a:ln w="25400" cap="flat" cmpd="sng" algn="ctr">
              <a:noFill/>
              <a:prstDash val="solid"/>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75B6D4"/>
                </a:solidFill>
                <a:effectLst/>
                <a:uLnTx/>
                <a:uFillTx/>
                <a:latin typeface="Arial"/>
                <a:ea typeface="+mn-ea"/>
                <a:cs typeface="+mn-cs"/>
                <a:sym typeface="Arial"/>
              </a:endParaRPr>
            </a:p>
          </p:txBody>
        </p:sp>
      </p:grpSp>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2E1C8631-7EB4-491D-90DF-88607A226032}"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a:lstStyle/>
          <a:p>
            <a:r>
              <a:rPr lang="en-GB"/>
              <a:t>Click to edit Master title style</a:t>
            </a:r>
            <a:endParaRPr lang="en-US"/>
          </a:p>
        </p:txBody>
      </p:sp>
      <p:sp>
        <p:nvSpPr>
          <p:cNvPr id="6" name="Text Placeholder 5">
            <a:extLst>
              <a:ext uri="{FF2B5EF4-FFF2-40B4-BE49-F238E27FC236}">
                <a16:creationId xmlns:a16="http://schemas.microsoft.com/office/drawing/2014/main" id="{886F5986-85EB-DF07-26FC-1D6ED8DC4CAF}"/>
              </a:ext>
            </a:extLst>
          </p:cNvPr>
          <p:cNvSpPr>
            <a:spLocks noGrp="1"/>
          </p:cNvSpPr>
          <p:nvPr>
            <p:ph type="body" sz="quarter" idx="13"/>
          </p:nvPr>
        </p:nvSpPr>
        <p:spPr>
          <a:xfrm>
            <a:off x="622206" y="2743471"/>
            <a:ext cx="2397079" cy="3047729"/>
          </a:xfrm>
        </p:spPr>
        <p:txBody>
          <a:bodyPr anchor="ctr"/>
          <a:lstStyle>
            <a:lvl1pPr>
              <a:buClr>
                <a:schemeClr val="bg1"/>
              </a:buClr>
              <a:defRPr sz="22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GB"/>
              <a:t>Click to edit Master text styles</a:t>
            </a:r>
          </a:p>
        </p:txBody>
      </p:sp>
      <p:sp>
        <p:nvSpPr>
          <p:cNvPr id="31" name="Text Placeholder 5">
            <a:extLst>
              <a:ext uri="{FF2B5EF4-FFF2-40B4-BE49-F238E27FC236}">
                <a16:creationId xmlns:a16="http://schemas.microsoft.com/office/drawing/2014/main" id="{A53DEBAC-5F84-D841-03C0-2633BEAF05CD}"/>
              </a:ext>
            </a:extLst>
          </p:cNvPr>
          <p:cNvSpPr>
            <a:spLocks noGrp="1"/>
          </p:cNvSpPr>
          <p:nvPr>
            <p:ph type="body" sz="quarter" idx="14"/>
          </p:nvPr>
        </p:nvSpPr>
        <p:spPr>
          <a:xfrm>
            <a:off x="346866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GB"/>
              <a:t>Click to edit Master text styles</a:t>
            </a:r>
          </a:p>
        </p:txBody>
      </p:sp>
      <p:sp>
        <p:nvSpPr>
          <p:cNvPr id="32" name="Text Placeholder 5">
            <a:extLst>
              <a:ext uri="{FF2B5EF4-FFF2-40B4-BE49-F238E27FC236}">
                <a16:creationId xmlns:a16="http://schemas.microsoft.com/office/drawing/2014/main" id="{88B960CD-03E0-5713-D335-B07A06942657}"/>
              </a:ext>
            </a:extLst>
          </p:cNvPr>
          <p:cNvSpPr>
            <a:spLocks noGrp="1"/>
          </p:cNvSpPr>
          <p:nvPr>
            <p:ph type="body" sz="quarter" idx="15"/>
          </p:nvPr>
        </p:nvSpPr>
        <p:spPr>
          <a:xfrm>
            <a:off x="6315126" y="2743471"/>
            <a:ext cx="2397079" cy="3047729"/>
          </a:xfrm>
        </p:spPr>
        <p:txBody>
          <a:bodyPr anchor="ctr"/>
          <a:lstStyle>
            <a:lvl1pPr>
              <a:buClr>
                <a:schemeClr val="bg1"/>
              </a:buClr>
              <a:defRPr sz="22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stStyle>
          <a:p>
            <a:pPr lvl="0"/>
            <a:r>
              <a:rPr lang="en-GB"/>
              <a:t>Click to edit Master text styles</a:t>
            </a:r>
          </a:p>
        </p:txBody>
      </p:sp>
      <p:sp>
        <p:nvSpPr>
          <p:cNvPr id="34" name="Text Placeholder 33">
            <a:extLst>
              <a:ext uri="{FF2B5EF4-FFF2-40B4-BE49-F238E27FC236}">
                <a16:creationId xmlns:a16="http://schemas.microsoft.com/office/drawing/2014/main" id="{CF745E8E-305A-258F-A772-89238F000A1F}"/>
              </a:ext>
            </a:extLst>
          </p:cNvPr>
          <p:cNvSpPr>
            <a:spLocks noGrp="1"/>
          </p:cNvSpPr>
          <p:nvPr>
            <p:ph type="body" sz="quarter" idx="16" hasCustomPrompt="1"/>
          </p:nvPr>
        </p:nvSpPr>
        <p:spPr>
          <a:xfrm>
            <a:off x="62220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7" name="Text Placeholder 33">
            <a:extLst>
              <a:ext uri="{FF2B5EF4-FFF2-40B4-BE49-F238E27FC236}">
                <a16:creationId xmlns:a16="http://schemas.microsoft.com/office/drawing/2014/main" id="{665AE713-64A0-62C5-9B25-B3188627E2B9}"/>
              </a:ext>
            </a:extLst>
          </p:cNvPr>
          <p:cNvSpPr>
            <a:spLocks noGrp="1"/>
          </p:cNvSpPr>
          <p:nvPr>
            <p:ph type="body" sz="quarter" idx="17" hasCustomPrompt="1"/>
          </p:nvPr>
        </p:nvSpPr>
        <p:spPr>
          <a:xfrm>
            <a:off x="3468666" y="1343506"/>
            <a:ext cx="2397079" cy="1248619"/>
          </a:xfrm>
        </p:spPr>
        <p:txBody>
          <a:bodyPr lIns="72000" anchor="ctr" anchorCtr="0"/>
          <a:lstStyle>
            <a:lvl1pPr marL="0" indent="0" algn="ctr">
              <a:buNone/>
              <a:defRPr sz="2200" b="1">
                <a:solidFill>
                  <a:schemeClr val="bg1"/>
                </a:solidFill>
              </a:defRPr>
            </a:lvl1pPr>
          </a:lstStyle>
          <a:p>
            <a:pPr lvl="0"/>
            <a:r>
              <a:rPr lang="en-US"/>
              <a:t>Title here. Keep text short and within text box.</a:t>
            </a:r>
          </a:p>
        </p:txBody>
      </p:sp>
      <p:sp>
        <p:nvSpPr>
          <p:cNvPr id="38" name="Text Placeholder 33">
            <a:extLst>
              <a:ext uri="{FF2B5EF4-FFF2-40B4-BE49-F238E27FC236}">
                <a16:creationId xmlns:a16="http://schemas.microsoft.com/office/drawing/2014/main" id="{217EB06B-0024-06D0-ADF8-A2474B8CC9A7}"/>
              </a:ext>
            </a:extLst>
          </p:cNvPr>
          <p:cNvSpPr>
            <a:spLocks noGrp="1"/>
          </p:cNvSpPr>
          <p:nvPr>
            <p:ph type="body" sz="quarter" idx="18" hasCustomPrompt="1"/>
          </p:nvPr>
        </p:nvSpPr>
        <p:spPr>
          <a:xfrm>
            <a:off x="6315126"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
        <p:nvSpPr>
          <p:cNvPr id="65" name="Text Placeholder 5">
            <a:extLst>
              <a:ext uri="{FF2B5EF4-FFF2-40B4-BE49-F238E27FC236}">
                <a16:creationId xmlns:a16="http://schemas.microsoft.com/office/drawing/2014/main" id="{F594A588-3333-60EE-66B3-364310F773D7}"/>
              </a:ext>
            </a:extLst>
          </p:cNvPr>
          <p:cNvSpPr>
            <a:spLocks noGrp="1"/>
          </p:cNvSpPr>
          <p:nvPr>
            <p:ph type="body" sz="quarter" idx="19"/>
          </p:nvPr>
        </p:nvSpPr>
        <p:spPr>
          <a:xfrm>
            <a:off x="9178724" y="2743471"/>
            <a:ext cx="2379942" cy="3047729"/>
          </a:xfrm>
        </p:spPr>
        <p:txBody>
          <a:bodyPr anchor="ctr"/>
          <a:lstStyle>
            <a:lvl1pPr rtl="0">
              <a:buClr>
                <a:schemeClr val="bg1"/>
              </a:buClr>
              <a:defRPr sz="2200">
                <a:solidFill>
                  <a:schemeClr val="bg1"/>
                </a:solidFill>
              </a:defRPr>
            </a:lvl1pPr>
            <a:lvl2pPr rtl="0">
              <a:buClr>
                <a:schemeClr val="bg1"/>
              </a:buClr>
              <a:defRPr sz="1600">
                <a:solidFill>
                  <a:schemeClr val="bg1"/>
                </a:solidFill>
              </a:defRPr>
            </a:lvl2pPr>
            <a:lvl3pPr rtl="0">
              <a:buClr>
                <a:schemeClr val="bg1"/>
              </a:buClr>
              <a:defRPr sz="1600">
                <a:solidFill>
                  <a:schemeClr val="bg1"/>
                </a:solidFill>
              </a:defRPr>
            </a:lvl3pPr>
            <a:lvl4pPr rtl="0">
              <a:buClr>
                <a:schemeClr val="bg1"/>
              </a:buClr>
              <a:defRPr sz="1600">
                <a:solidFill>
                  <a:schemeClr val="bg1"/>
                </a:solidFill>
              </a:defRPr>
            </a:lvl4pPr>
            <a:lvl5pPr rtl="0">
              <a:buClr>
                <a:schemeClr val="bg1"/>
              </a:buClr>
              <a:defRPr sz="1600">
                <a:solidFill>
                  <a:schemeClr val="bg1"/>
                </a:solidFill>
              </a:defRPr>
            </a:lvl5pPr>
          </a:lstStyle>
          <a:p>
            <a:pPr lvl="0"/>
            <a:r>
              <a:rPr lang="en-GB"/>
              <a:t>Click to edit Master text styles</a:t>
            </a:r>
          </a:p>
        </p:txBody>
      </p:sp>
      <p:sp>
        <p:nvSpPr>
          <p:cNvPr id="66" name="Text Placeholder 33">
            <a:extLst>
              <a:ext uri="{FF2B5EF4-FFF2-40B4-BE49-F238E27FC236}">
                <a16:creationId xmlns:a16="http://schemas.microsoft.com/office/drawing/2014/main" id="{ED9D41A5-F51B-18AF-53E5-B0F404F54EBF}"/>
              </a:ext>
            </a:extLst>
          </p:cNvPr>
          <p:cNvSpPr>
            <a:spLocks noGrp="1"/>
          </p:cNvSpPr>
          <p:nvPr>
            <p:ph type="body" sz="quarter" idx="20" hasCustomPrompt="1"/>
          </p:nvPr>
        </p:nvSpPr>
        <p:spPr>
          <a:xfrm>
            <a:off x="9161587" y="1343506"/>
            <a:ext cx="2397079" cy="1248619"/>
          </a:xfrm>
        </p:spPr>
        <p:txBody>
          <a:bodyPr lIns="72000" anchor="ctr" anchorCtr="0"/>
          <a:lstStyle>
            <a:lvl1pPr marL="0" indent="0" algn="ctr" rtl="0">
              <a:buNone/>
              <a:defRPr sz="2200" b="1">
                <a:solidFill>
                  <a:schemeClr val="bg1"/>
                </a:solidFill>
              </a:defRPr>
            </a:lvl1pPr>
          </a:lstStyle>
          <a:p>
            <a:pPr lvl="0"/>
            <a:r>
              <a:rPr lang="en-US"/>
              <a:t>Title here. Keep text short and within text box.</a:t>
            </a:r>
          </a:p>
        </p:txBody>
      </p:sp>
    </p:spTree>
    <p:custDataLst>
      <p:tags r:id="rId1"/>
    </p:custDataLst>
    <p:extLst>
      <p:ext uri="{BB962C8B-B14F-4D97-AF65-F5344CB8AC3E}">
        <p14:creationId xmlns:p14="http://schemas.microsoft.com/office/powerpoint/2010/main" val="45482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146165-85C2-0B6B-EE16-E711D43ECF38}"/>
              </a:ext>
            </a:extLst>
          </p:cNvPr>
          <p:cNvGraphicFramePr>
            <a:graphicFrameLocks noChangeAspect="1"/>
          </p:cNvGraphicFramePr>
          <p:nvPr>
            <p:custDataLst>
              <p:tags r:id="rId2"/>
            </p:custDataLst>
            <p:extLst>
              <p:ext uri="{D42A27DB-BD31-4B8C-83A1-F6EECF244321}">
                <p14:modId xmlns:p14="http://schemas.microsoft.com/office/powerpoint/2010/main" val="187500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E9146165-85C2-0B6B-EE16-E711D43ECF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9AB4D9B2-5E2D-42B5-217F-6832FCA3CDEB}"/>
              </a:ext>
            </a:extLst>
          </p:cNvPr>
          <p:cNvSpPr>
            <a:spLocks noGrp="1"/>
          </p:cNvSpPr>
          <p:nvPr>
            <p:ph type="body" sz="quarter" idx="19"/>
          </p:nvPr>
        </p:nvSpPr>
        <p:spPr>
          <a:xfrm>
            <a:off x="1" y="2"/>
            <a:ext cx="6259356" cy="2492113"/>
          </a:xfrm>
          <a:custGeom>
            <a:avLst/>
            <a:gdLst>
              <a:gd name="connsiteX0" fmla="*/ 6083397 w 6259356"/>
              <a:gd name="connsiteY0" fmla="*/ 0 h 2492113"/>
              <a:gd name="connsiteX1" fmla="*/ 6251652 w 6259356"/>
              <a:gd name="connsiteY1" fmla="*/ 841021 h 2492113"/>
              <a:gd name="connsiteX2" fmla="*/ 5943693 w 6259356"/>
              <a:gd name="connsiteY2" fmla="*/ 1303017 h 2492113"/>
              <a:gd name="connsiteX3" fmla="*/ 2106825 w 6259356"/>
              <a:gd name="connsiteY3" fmla="*/ 2070622 h 2492113"/>
              <a:gd name="connsiteX4" fmla="*/ 2007803 w 6259356"/>
              <a:gd name="connsiteY4" fmla="*/ 1581395 h 2492113"/>
              <a:gd name="connsiteX5" fmla="*/ 1728107 w 6259356"/>
              <a:gd name="connsiteY5" fmla="*/ 1638007 h 2492113"/>
              <a:gd name="connsiteX6" fmla="*/ 1952729 w 6259356"/>
              <a:gd name="connsiteY6" fmla="*/ 1309298 h 2492113"/>
              <a:gd name="connsiteX7" fmla="*/ 1910158 w 6259356"/>
              <a:gd name="connsiteY7" fmla="*/ 1098973 h 2492113"/>
              <a:gd name="connsiteX8" fmla="*/ 1517537 w 6259356"/>
              <a:gd name="connsiteY8" fmla="*/ 1680627 h 2492113"/>
              <a:gd name="connsiteX9" fmla="*/ 1616336 w 6259356"/>
              <a:gd name="connsiteY9" fmla="*/ 2168749 h 2492113"/>
              <a:gd name="connsiteX10" fmla="*/ 1371553 w 6259356"/>
              <a:gd name="connsiteY10" fmla="*/ 2217720 h 2492113"/>
              <a:gd name="connsiteX11" fmla="*/ 1272403 w 6259356"/>
              <a:gd name="connsiteY11" fmla="*/ 1727864 h 2492113"/>
              <a:gd name="connsiteX12" fmla="*/ 992707 w 6259356"/>
              <a:gd name="connsiteY12" fmla="*/ 1784476 h 2492113"/>
              <a:gd name="connsiteX13" fmla="*/ 1217329 w 6259356"/>
              <a:gd name="connsiteY13" fmla="*/ 1455767 h 2492113"/>
              <a:gd name="connsiteX14" fmla="*/ 1174758 w 6259356"/>
              <a:gd name="connsiteY14" fmla="*/ 1245441 h 2492113"/>
              <a:gd name="connsiteX15" fmla="*/ 782137 w 6259356"/>
              <a:gd name="connsiteY15" fmla="*/ 1827097 h 2492113"/>
              <a:gd name="connsiteX16" fmla="*/ 881064 w 6259356"/>
              <a:gd name="connsiteY16" fmla="*/ 2315848 h 2492113"/>
              <a:gd name="connsiteX17" fmla="*/ 0 w 6259356"/>
              <a:gd name="connsiteY17" fmla="*/ 2492113 h 2492113"/>
              <a:gd name="connsiteX18" fmla="*/ 1 w 6259356"/>
              <a:gd name="connsiteY18" fmla="*/ 1 h 24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59356" h="2492113">
                <a:moveTo>
                  <a:pt x="6083397" y="0"/>
                </a:moveTo>
                <a:lnTo>
                  <a:pt x="6251652" y="841021"/>
                </a:lnTo>
                <a:cubicBezTo>
                  <a:pt x="6294188" y="1053638"/>
                  <a:pt x="6156310" y="1260481"/>
                  <a:pt x="5943693" y="1303017"/>
                </a:cubicBezTo>
                <a:lnTo>
                  <a:pt x="2106825" y="2070622"/>
                </a:lnTo>
                <a:lnTo>
                  <a:pt x="2007803" y="1581395"/>
                </a:lnTo>
                <a:lnTo>
                  <a:pt x="1728107" y="1638007"/>
                </a:lnTo>
                <a:cubicBezTo>
                  <a:pt x="1701698" y="1485708"/>
                  <a:pt x="1801245" y="1340034"/>
                  <a:pt x="1952729" y="1309298"/>
                </a:cubicBezTo>
                <a:lnTo>
                  <a:pt x="1910158" y="1098973"/>
                </a:lnTo>
                <a:cubicBezTo>
                  <a:pt x="1642420" y="1153130"/>
                  <a:pt x="1467638" y="1412062"/>
                  <a:pt x="1517537" y="1680627"/>
                </a:cubicBezTo>
                <a:lnTo>
                  <a:pt x="1616336" y="2168749"/>
                </a:lnTo>
                <a:lnTo>
                  <a:pt x="1371553" y="2217720"/>
                </a:lnTo>
                <a:lnTo>
                  <a:pt x="1272403" y="1727864"/>
                </a:lnTo>
                <a:lnTo>
                  <a:pt x="992707" y="1784476"/>
                </a:lnTo>
                <a:cubicBezTo>
                  <a:pt x="966298" y="1632178"/>
                  <a:pt x="1065845" y="1486504"/>
                  <a:pt x="1217329" y="1455767"/>
                </a:cubicBezTo>
                <a:lnTo>
                  <a:pt x="1174758" y="1245441"/>
                </a:lnTo>
                <a:cubicBezTo>
                  <a:pt x="907019" y="1299598"/>
                  <a:pt x="732238" y="1558531"/>
                  <a:pt x="782137" y="1827097"/>
                </a:cubicBezTo>
                <a:lnTo>
                  <a:pt x="881064" y="2315848"/>
                </a:lnTo>
                <a:lnTo>
                  <a:pt x="0" y="2492113"/>
                </a:lnTo>
                <a:lnTo>
                  <a:pt x="1" y="1"/>
                </a:lnTo>
                <a:close/>
              </a:path>
            </a:pathLst>
          </a:custGeom>
          <a:solidFill>
            <a:schemeClr val="accent3"/>
          </a:solidFill>
        </p:spPr>
        <p:txBody>
          <a:bodyPr wrap="square">
            <a:noAutofit/>
          </a:bodyPr>
          <a:lstStyle>
            <a:lvl1pPr marL="0" indent="0">
              <a:buNone/>
              <a:defRPr sz="100">
                <a:noFill/>
              </a:defRPr>
            </a:lvl1pPr>
          </a:lstStyle>
          <a:p>
            <a:pPr lvl="0"/>
            <a:r>
              <a:rPr lang="en-US"/>
              <a:t>Click to edit Master text styles</a:t>
            </a:r>
          </a:p>
        </p:txBody>
      </p:sp>
      <p:sp>
        <p:nvSpPr>
          <p:cNvPr id="12" name="Freeform: Shape 11">
            <a:extLst>
              <a:ext uri="{FF2B5EF4-FFF2-40B4-BE49-F238E27FC236}">
                <a16:creationId xmlns:a16="http://schemas.microsoft.com/office/drawing/2014/main" id="{B2B8548F-AFFB-9651-7775-AC40823DE63E}"/>
              </a:ext>
            </a:extLst>
          </p:cNvPr>
          <p:cNvSpPr/>
          <p:nvPr/>
        </p:nvSpPr>
        <p:spPr>
          <a:xfrm>
            <a:off x="7965943"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4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4"/>
                </a:lnTo>
                <a:cubicBezTo>
                  <a:pt x="1516939" y="88877"/>
                  <a:pt x="1652992" y="10610"/>
                  <a:pt x="1796222" y="100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34">
            <a:extLst>
              <a:ext uri="{FF2B5EF4-FFF2-40B4-BE49-F238E27FC236}">
                <a16:creationId xmlns:a16="http://schemas.microsoft.com/office/drawing/2014/main" id="{BA1D2515-1133-702D-793C-38102D58CE1E}"/>
              </a:ext>
            </a:extLst>
          </p:cNvPr>
          <p:cNvSpPr>
            <a:spLocks noGrp="1"/>
          </p:cNvSpPr>
          <p:nvPr>
            <p:ph type="body" sz="quarter" idx="14" hasCustomPrompt="1"/>
          </p:nvPr>
        </p:nvSpPr>
        <p:spPr>
          <a:xfrm>
            <a:off x="942975" y="2492114"/>
            <a:ext cx="7032625" cy="2453274"/>
          </a:xfrm>
        </p:spPr>
        <p:txBody>
          <a:bodyPr anchor="ctr"/>
          <a:lstStyle>
            <a:lvl1pPr marL="0" indent="0">
              <a:spcBef>
                <a:spcPts val="0"/>
              </a:spcBef>
              <a:buNone/>
              <a:defRPr sz="3200"/>
            </a:lvl1pPr>
          </a:lstStyle>
          <a:p>
            <a:pPr lvl="0"/>
            <a:r>
              <a:rPr lang="en-US"/>
              <a:t>Add quotation here. Increase or decrease font size as needed. The fill color of the graphic on the left hand corner can be changed if needed.</a:t>
            </a:r>
          </a:p>
        </p:txBody>
      </p:sp>
      <p:sp>
        <p:nvSpPr>
          <p:cNvPr id="41" name="Text Placeholder 40">
            <a:extLst>
              <a:ext uri="{FF2B5EF4-FFF2-40B4-BE49-F238E27FC236}">
                <a16:creationId xmlns:a16="http://schemas.microsoft.com/office/drawing/2014/main" id="{CF81C14C-13B3-02BC-C609-390D5E1841B4}"/>
              </a:ext>
            </a:extLst>
          </p:cNvPr>
          <p:cNvSpPr>
            <a:spLocks noGrp="1"/>
          </p:cNvSpPr>
          <p:nvPr>
            <p:ph type="body" sz="quarter" idx="15" hasCustomPrompt="1"/>
          </p:nvPr>
        </p:nvSpPr>
        <p:spPr>
          <a:xfrm>
            <a:off x="928688" y="5080000"/>
            <a:ext cx="7046912" cy="904875"/>
          </a:xfrm>
        </p:spPr>
        <p:txBody>
          <a:bodyPr/>
          <a:lstStyle>
            <a:lvl1pPr marL="0" indent="0">
              <a:spcBef>
                <a:spcPts val="0"/>
              </a:spcBef>
              <a:buNone/>
              <a:defRPr sz="2000" b="1">
                <a:solidFill>
                  <a:schemeClr val="accent1"/>
                </a:solidFill>
              </a:defRPr>
            </a:lvl1pPr>
          </a:lstStyle>
          <a:p>
            <a:pPr lvl="0"/>
            <a:r>
              <a:rPr lang="en-US"/>
              <a:t>Add name &amp; job title here, or any other additional information. Stay within the text box. Keep text short.</a:t>
            </a:r>
          </a:p>
        </p:txBody>
      </p:sp>
      <p:sp>
        <p:nvSpPr>
          <p:cNvPr id="5" name="Date Placeholder 4">
            <a:extLst>
              <a:ext uri="{FF2B5EF4-FFF2-40B4-BE49-F238E27FC236}">
                <a16:creationId xmlns:a16="http://schemas.microsoft.com/office/drawing/2014/main" id="{835174CD-0298-F14B-1AF5-E136A49B5D55}"/>
              </a:ext>
            </a:extLst>
          </p:cNvPr>
          <p:cNvSpPr>
            <a:spLocks noGrp="1"/>
          </p:cNvSpPr>
          <p:nvPr>
            <p:ph type="dt" sz="half" idx="16"/>
          </p:nvPr>
        </p:nvSpPr>
        <p:spPr/>
        <p:txBody>
          <a:bodyPr/>
          <a:lstStyle/>
          <a:p>
            <a:fld id="{BABFE860-21FD-4DA0-9E9A-92548ED661C3}" type="datetime1">
              <a:rPr lang="en-US" smtClean="0"/>
              <a:t>4/13/2023</a:t>
            </a:fld>
            <a:endParaRPr lang="en-US"/>
          </a:p>
        </p:txBody>
      </p:sp>
      <p:sp>
        <p:nvSpPr>
          <p:cNvPr id="7" name="Footer Placeholder 6">
            <a:extLst>
              <a:ext uri="{FF2B5EF4-FFF2-40B4-BE49-F238E27FC236}">
                <a16:creationId xmlns:a16="http://schemas.microsoft.com/office/drawing/2014/main" id="{EA6CBD8D-625D-CA16-E18D-C630A4DF554D}"/>
              </a:ext>
            </a:extLst>
          </p:cNvPr>
          <p:cNvSpPr>
            <a:spLocks noGrp="1"/>
          </p:cNvSpPr>
          <p:nvPr>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0CC281EC-11DB-6813-8205-A6039FE80AB0}"/>
              </a:ext>
            </a:extLst>
          </p:cNvPr>
          <p:cNvSpPr>
            <a:spLocks noGrp="1"/>
          </p:cNvSpPr>
          <p:nvPr>
            <p:ph type="sldNum" sz="quarter" idx="18"/>
          </p:nvPr>
        </p:nvSpPr>
        <p:spPr/>
        <p:txBody>
          <a:bodyPr/>
          <a:lstStyle>
            <a:lvl1pPr>
              <a:defRPr>
                <a:solidFill>
                  <a:schemeClr val="bg1"/>
                </a:solidFill>
              </a:defRPr>
            </a:lvl1pPr>
          </a:lstStyle>
          <a:p>
            <a:fld id="{F93F11C7-B87C-4933-9AFD-08422E5A18E7}" type="slidenum">
              <a:rPr lang="en-US" smtClean="0"/>
              <a:pPr/>
              <a:t>‹#›</a:t>
            </a:fld>
            <a:endParaRPr lang="en-US"/>
          </a:p>
        </p:txBody>
      </p:sp>
      <p:pic>
        <p:nvPicPr>
          <p:cNvPr id="10" name="Graphic 9">
            <a:extLst>
              <a:ext uri="{FF2B5EF4-FFF2-40B4-BE49-F238E27FC236}">
                <a16:creationId xmlns:a16="http://schemas.microsoft.com/office/drawing/2014/main" id="{D01A6DB5-BE7D-E9F1-094E-9B876F7F7D8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8484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3AF2A11-3780-A445-AD7C-AB4174248E16}"/>
              </a:ext>
            </a:extLst>
          </p:cNvPr>
          <p:cNvSpPr/>
          <p:nvPr userDrawn="1"/>
        </p:nvSpPr>
        <p:spPr>
          <a:xfrm>
            <a:off x="0" y="0"/>
            <a:ext cx="570661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424F0EF8-DFEF-0DF3-BD7B-3B8B9760DECC}"/>
              </a:ext>
            </a:extLst>
          </p:cNvPr>
          <p:cNvSpPr/>
          <p:nvPr userDrawn="1"/>
        </p:nvSpPr>
        <p:spPr>
          <a:xfrm flipH="1">
            <a:off x="0" y="4163340"/>
            <a:ext cx="4226058" cy="2694660"/>
          </a:xfrm>
          <a:custGeom>
            <a:avLst/>
            <a:gdLst>
              <a:gd name="connsiteX0" fmla="*/ 1796222 w 4226058"/>
              <a:gd name="connsiteY0" fmla="*/ 1004 h 2694660"/>
              <a:gd name="connsiteX1" fmla="*/ 2050718 w 4226058"/>
              <a:gd name="connsiteY1" fmla="*/ 60788 h 2694660"/>
              <a:gd name="connsiteX2" fmla="*/ 4226058 w 4226058"/>
              <a:gd name="connsiteY2" fmla="*/ 1327146 h 2694660"/>
              <a:gd name="connsiteX3" fmla="*/ 4226058 w 4226058"/>
              <a:gd name="connsiteY3" fmla="*/ 2694660 h 2694660"/>
              <a:gd name="connsiteX4" fmla="*/ 0 w 4226058"/>
              <a:gd name="connsiteY4" fmla="*/ 2694660 h 2694660"/>
              <a:gd name="connsiteX5" fmla="*/ 1439280 w 4226058"/>
              <a:gd name="connsiteY5" fmla="*/ 222275 h 2694660"/>
              <a:gd name="connsiteX6" fmla="*/ 1796222 w 4226058"/>
              <a:gd name="connsiteY6" fmla="*/ 1004 h 269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6058" h="2694660">
                <a:moveTo>
                  <a:pt x="1796222" y="1004"/>
                </a:moveTo>
                <a:cubicBezTo>
                  <a:pt x="1882159" y="-4760"/>
                  <a:pt x="1970681" y="14195"/>
                  <a:pt x="2050718" y="60788"/>
                </a:cubicBezTo>
                <a:lnTo>
                  <a:pt x="4226058" y="1327146"/>
                </a:lnTo>
                <a:lnTo>
                  <a:pt x="4226058" y="2694660"/>
                </a:lnTo>
                <a:lnTo>
                  <a:pt x="0" y="2694660"/>
                </a:lnTo>
                <a:lnTo>
                  <a:pt x="1439280" y="222275"/>
                </a:lnTo>
                <a:cubicBezTo>
                  <a:pt x="1516939" y="88877"/>
                  <a:pt x="1652992" y="10610"/>
                  <a:pt x="1796222" y="1004"/>
                </a:cubicBezTo>
                <a:close/>
              </a:path>
            </a:pathLst>
          </a:custGeom>
          <a:solidFill>
            <a:schemeClr val="accent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graphicFrame>
        <p:nvGraphicFramePr>
          <p:cNvPr id="8" name="Object 7" hidden="1">
            <a:extLst>
              <a:ext uri="{FF2B5EF4-FFF2-40B4-BE49-F238E27FC236}">
                <a16:creationId xmlns:a16="http://schemas.microsoft.com/office/drawing/2014/main" id="{539FA10D-3843-8642-175B-E78584313441}"/>
              </a:ext>
            </a:extLst>
          </p:cNvPr>
          <p:cNvGraphicFramePr>
            <a:graphicFrameLocks noChangeAspect="1"/>
          </p:cNvGraphicFramePr>
          <p:nvPr>
            <p:custDataLst>
              <p:tags r:id="rId2"/>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539FA10D-3843-8642-175B-E785843134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B4EC79D-6F5C-1B6A-061F-AD1305590732}"/>
              </a:ext>
            </a:extLst>
          </p:cNvPr>
          <p:cNvSpPr>
            <a:spLocks noGrp="1"/>
          </p:cNvSpPr>
          <p:nvPr>
            <p:ph type="body" sz="half" idx="2"/>
          </p:nvPr>
        </p:nvSpPr>
        <p:spPr>
          <a:xfrm>
            <a:off x="481659" y="2668661"/>
            <a:ext cx="4870269" cy="3424163"/>
          </a:xfrm>
          <a:prstGeom prst="rect">
            <a:avLst/>
          </a:prstGeom>
          <a:noFill/>
        </p:spPr>
        <p:txBody>
          <a:bodyPr/>
          <a:lstStyle>
            <a:lvl1pPr marL="0" indent="0">
              <a:spcBef>
                <a:spcPts val="0"/>
              </a:spcBef>
              <a:buFont typeface="Arial" panose="020B0604020202020204" pitchFamily="34" charse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4" name="Title 33">
            <a:extLst>
              <a:ext uri="{FF2B5EF4-FFF2-40B4-BE49-F238E27FC236}">
                <a16:creationId xmlns:a16="http://schemas.microsoft.com/office/drawing/2014/main" id="{8F40D756-D0CB-F85C-6BC6-DB5804486E4D}"/>
              </a:ext>
            </a:extLst>
          </p:cNvPr>
          <p:cNvSpPr>
            <a:spLocks noGrp="1"/>
          </p:cNvSpPr>
          <p:nvPr>
            <p:ph type="title"/>
          </p:nvPr>
        </p:nvSpPr>
        <p:spPr>
          <a:xfrm>
            <a:off x="457200" y="367125"/>
            <a:ext cx="4894728" cy="1061770"/>
          </a:xfrm>
        </p:spPr>
        <p:txBody>
          <a:bodyPr vert="horz"/>
          <a:lstStyle/>
          <a:p>
            <a:r>
              <a:rPr lang="en-US"/>
              <a:t>Click to edit Master title style</a:t>
            </a:r>
          </a:p>
        </p:txBody>
      </p:sp>
      <p:sp>
        <p:nvSpPr>
          <p:cNvPr id="3" name="Content Placeholder 2">
            <a:extLst>
              <a:ext uri="{FF2B5EF4-FFF2-40B4-BE49-F238E27FC236}">
                <a16:creationId xmlns:a16="http://schemas.microsoft.com/office/drawing/2014/main" id="{D8355E53-AA10-AB27-6C8B-F74C4B3739C6}"/>
              </a:ext>
            </a:extLst>
          </p:cNvPr>
          <p:cNvSpPr>
            <a:spLocks noGrp="1"/>
          </p:cNvSpPr>
          <p:nvPr>
            <p:ph idx="1" hasCustomPrompt="1"/>
          </p:nvPr>
        </p:nvSpPr>
        <p:spPr>
          <a:xfrm>
            <a:off x="6028182" y="1217899"/>
            <a:ext cx="5706618" cy="4874925"/>
          </a:xfrm>
          <a:prstGeom prst="rect">
            <a:avLst/>
          </a:prstGeom>
          <a:solidFill>
            <a:schemeClr val="bg1"/>
          </a:solidFill>
        </p:spPr>
        <p:txBody>
          <a:bodyPr lIns="72000" bIns="1620000" anchor="ctr" anchorCtr="0"/>
          <a:lstStyle>
            <a:lvl1pPr marL="0" indent="0" algn="ctr" rtl="0">
              <a:buNone/>
              <a:defRPr sz="1600">
                <a:solidFill>
                  <a:schemeClr val="bg2">
                    <a:lumMod val="75000"/>
                  </a:schemeClr>
                </a:solidFill>
              </a:defRPr>
            </a:lvl1pPr>
            <a:lvl2pPr marL="457200" indent="0">
              <a:buNone/>
              <a:defRPr sz="1800">
                <a:solidFill>
                  <a:schemeClr val="bg1"/>
                </a:solidFill>
              </a:defRPr>
            </a:lvl2pPr>
            <a:lvl3pPr marL="914400" indent="0">
              <a:buNone/>
              <a:defRPr sz="1600">
                <a:solidFill>
                  <a:schemeClr val="bg1"/>
                </a:solidFill>
              </a:defRPr>
            </a:lvl3pPr>
            <a:lvl4pPr marL="1371600" indent="0">
              <a:buNone/>
              <a:defRPr sz="1400">
                <a:solidFill>
                  <a:schemeClr val="bg1"/>
                </a:solidFill>
              </a:defRPr>
            </a:lvl4pPr>
            <a:lvl5pPr marL="1828800" indent="0">
              <a:buNone/>
              <a:defRPr sz="1400">
                <a:solidFill>
                  <a:schemeClr val="bg1"/>
                </a:solidFill>
              </a:defRPr>
            </a:lvl5pPr>
            <a:lvl6pPr>
              <a:defRPr sz="2000"/>
            </a:lvl6pPr>
            <a:lvl7pPr>
              <a:defRPr sz="2000"/>
            </a:lvl7pPr>
            <a:lvl8pPr>
              <a:defRPr sz="2000"/>
            </a:lvl8pPr>
            <a:lvl9pPr>
              <a:defRPr sz="2000"/>
            </a:lvl9pPr>
          </a:lstStyle>
          <a:p>
            <a:pPr lvl="0"/>
            <a:r>
              <a:rPr lang="en-US"/>
              <a:t>Click on the relevant icon to add content</a:t>
            </a:r>
            <a:br>
              <a:rPr lang="en-US"/>
            </a:br>
            <a:r>
              <a:rPr lang="en-US"/>
              <a:t>(table, live data, smart art, etc)</a:t>
            </a:r>
          </a:p>
        </p:txBody>
      </p:sp>
      <p:sp>
        <p:nvSpPr>
          <p:cNvPr id="40" name="Text Placeholder 18">
            <a:extLst>
              <a:ext uri="{FF2B5EF4-FFF2-40B4-BE49-F238E27FC236}">
                <a16:creationId xmlns:a16="http://schemas.microsoft.com/office/drawing/2014/main" id="{594A8751-DA97-7198-CEFC-A9D67967888D}"/>
              </a:ext>
            </a:extLst>
          </p:cNvPr>
          <p:cNvSpPr>
            <a:spLocks noGrp="1"/>
          </p:cNvSpPr>
          <p:nvPr>
            <p:ph type="body" sz="quarter" idx="13" hasCustomPrompt="1"/>
          </p:nvPr>
        </p:nvSpPr>
        <p:spPr>
          <a:xfrm>
            <a:off x="457200" y="1532964"/>
            <a:ext cx="4894728" cy="935411"/>
          </a:xfrm>
        </p:spPr>
        <p:txBody>
          <a:bodyPr/>
          <a:lstStyle>
            <a:lvl1pPr marL="0" indent="0">
              <a:spcBef>
                <a:spcPts val="0"/>
              </a:spcBef>
              <a:buNone/>
              <a:defRPr sz="2400" b="1">
                <a:solidFill>
                  <a:schemeClr val="accent1"/>
                </a:solidFill>
              </a:defRPr>
            </a:lvl1pPr>
          </a:lstStyle>
          <a:p>
            <a:pPr lvl="0"/>
            <a:r>
              <a:rPr lang="en-US"/>
              <a:t>Add key highlight here. Stay within text box. Keep text short.</a:t>
            </a:r>
          </a:p>
        </p:txBody>
      </p:sp>
      <p:graphicFrame>
        <p:nvGraphicFramePr>
          <p:cNvPr id="10" name="Object 9" hidden="1">
            <a:extLst>
              <a:ext uri="{FF2B5EF4-FFF2-40B4-BE49-F238E27FC236}">
                <a16:creationId xmlns:a16="http://schemas.microsoft.com/office/drawing/2014/main" id="{0EE65609-FC4A-DC7D-A501-BB8FB6F8CCE7}"/>
              </a:ext>
            </a:extLst>
          </p:cNvPr>
          <p:cNvGraphicFramePr>
            <a:graphicFrameLocks noChangeAspect="1"/>
          </p:cNvGraphicFramePr>
          <p:nvPr userDrawn="1">
            <p:custDataLst>
              <p:tags r:id="rId3"/>
            </p:custDataLst>
            <p:extLst>
              <p:ext uri="{D42A27DB-BD31-4B8C-83A1-F6EECF244321}">
                <p14:modId xmlns:p14="http://schemas.microsoft.com/office/powerpoint/2010/main" val="303039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0" name="Object 9" hidden="1">
                        <a:extLst>
                          <a:ext uri="{FF2B5EF4-FFF2-40B4-BE49-F238E27FC236}">
                            <a16:creationId xmlns:a16="http://schemas.microsoft.com/office/drawing/2014/main" id="{0EE65609-FC4A-DC7D-A501-BB8FB6F8CC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ECD2FE6A-5B35-E298-04D2-CC034930F245}"/>
              </a:ext>
            </a:extLst>
          </p:cNvPr>
          <p:cNvSpPr>
            <a:spLocks noGrp="1"/>
          </p:cNvSpPr>
          <p:nvPr>
            <p:ph type="dt" sz="half" idx="14"/>
          </p:nvPr>
        </p:nvSpPr>
        <p:spPr/>
        <p:txBody>
          <a:bodyPr/>
          <a:lstStyle/>
          <a:p>
            <a:fld id="{BABFE860-21FD-4DA0-9E9A-92548ED661C3}" type="datetime1">
              <a:rPr lang="en-US" smtClean="0"/>
              <a:t>4/13/2023</a:t>
            </a:fld>
            <a:endParaRPr lang="en-US"/>
          </a:p>
        </p:txBody>
      </p:sp>
      <p:sp>
        <p:nvSpPr>
          <p:cNvPr id="9" name="Footer Placeholder 8">
            <a:extLst>
              <a:ext uri="{FF2B5EF4-FFF2-40B4-BE49-F238E27FC236}">
                <a16:creationId xmlns:a16="http://schemas.microsoft.com/office/drawing/2014/main" id="{FF7532A6-E844-5AAC-ECE5-FF7CCCBCA329}"/>
              </a:ext>
            </a:extLst>
          </p:cNvPr>
          <p:cNvSpPr>
            <a:spLocks noGrp="1"/>
          </p:cNvSpPr>
          <p:nvPr>
            <p:ph type="ftr" sz="quarter" idx="15"/>
          </p:nvPr>
        </p:nvSpPr>
        <p:spPr/>
        <p:txBody>
          <a:bodyPr/>
          <a:lstStyle/>
          <a:p>
            <a:endParaRPr lang="en-US"/>
          </a:p>
        </p:txBody>
      </p:sp>
      <p:sp>
        <p:nvSpPr>
          <p:cNvPr id="13" name="Slide Number Placeholder 12">
            <a:extLst>
              <a:ext uri="{FF2B5EF4-FFF2-40B4-BE49-F238E27FC236}">
                <a16:creationId xmlns:a16="http://schemas.microsoft.com/office/drawing/2014/main" id="{CF6032D2-3177-9DD0-10E3-28D562D5793A}"/>
              </a:ext>
            </a:extLst>
          </p:cNvPr>
          <p:cNvSpPr>
            <a:spLocks noGrp="1"/>
          </p:cNvSpPr>
          <p:nvPr>
            <p:ph type="sldNum" sz="quarter" idx="16"/>
          </p:nvPr>
        </p:nvSpPr>
        <p:spPr/>
        <p:txBody>
          <a:bodyPr/>
          <a:lstStyle/>
          <a:p>
            <a:fld id="{F93F11C7-B87C-4933-9AFD-08422E5A18E7}" type="slidenum">
              <a:rPr lang="en-US" smtClean="0"/>
              <a:pPr/>
              <a:t>‹#›</a:t>
            </a:fld>
            <a:endParaRPr lang="en-US"/>
          </a:p>
        </p:txBody>
      </p:sp>
    </p:spTree>
    <p:custDataLst>
      <p:tags r:id="rId1"/>
    </p:custDataLst>
    <p:extLst>
      <p:ext uri="{BB962C8B-B14F-4D97-AF65-F5344CB8AC3E}">
        <p14:creationId xmlns:p14="http://schemas.microsoft.com/office/powerpoint/2010/main" val="193306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Image &amp; Text 1">
    <p:bg>
      <p:bgPr>
        <a:solidFill>
          <a:schemeClr val="bg1"/>
        </a:solidFill>
        <a:effectLst/>
      </p:bgPr>
    </p:bg>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01A85D9-BE8D-965F-EF30-A14258341197}"/>
              </a:ext>
            </a:extLst>
          </p:cNvPr>
          <p:cNvSpPr/>
          <p:nvPr/>
        </p:nvSpPr>
        <p:spPr>
          <a:xfrm>
            <a:off x="979581" y="2048934"/>
            <a:ext cx="10755218" cy="4043891"/>
          </a:xfrm>
          <a:prstGeom prst="roundRect">
            <a:avLst>
              <a:gd name="adj" fmla="val 7874"/>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6" name="Object 15" hidden="1">
            <a:extLst>
              <a:ext uri="{FF2B5EF4-FFF2-40B4-BE49-F238E27FC236}">
                <a16:creationId xmlns:a16="http://schemas.microsoft.com/office/drawing/2014/main" id="{1612B55C-351E-D40B-84EF-90910693625D}"/>
              </a:ext>
            </a:extLst>
          </p:cNvPr>
          <p:cNvGraphicFramePr>
            <a:graphicFrameLocks noChangeAspect="1"/>
          </p:cNvGraphicFramePr>
          <p:nvPr>
            <p:custDataLst>
              <p:tags r:id="rId2"/>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6" name="Object 15" hidden="1">
                        <a:extLst>
                          <a:ext uri="{FF2B5EF4-FFF2-40B4-BE49-F238E27FC236}">
                            <a16:creationId xmlns:a16="http://schemas.microsoft.com/office/drawing/2014/main" id="{1612B55C-351E-D40B-84EF-9091069362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0E3D8D-4CD3-D35E-3682-0D17A5544E85}"/>
              </a:ext>
            </a:extLst>
          </p:cNvPr>
          <p:cNvSpPr>
            <a:spLocks noGrp="1"/>
          </p:cNvSpPr>
          <p:nvPr>
            <p:ph type="title"/>
          </p:nvPr>
        </p:nvSpPr>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056D8000-A26D-4727-9736-C8E2FF5EE4DF}"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p>
            <a:fld id="{F93F11C7-B87C-4933-9AFD-08422E5A18E7}" type="slidenum">
              <a:rPr lang="en-US" smtClean="0"/>
              <a:pPr/>
              <a:t>‹#›</a:t>
            </a:fld>
            <a:endParaRPr lang="en-US"/>
          </a:p>
        </p:txBody>
      </p:sp>
      <p:sp>
        <p:nvSpPr>
          <p:cNvPr id="18" name="Text Placeholder 3">
            <a:extLst>
              <a:ext uri="{FF2B5EF4-FFF2-40B4-BE49-F238E27FC236}">
                <a16:creationId xmlns:a16="http://schemas.microsoft.com/office/drawing/2014/main" id="{85811FEF-DC3D-8759-E832-E0DC341F0FF4}"/>
              </a:ext>
            </a:extLst>
          </p:cNvPr>
          <p:cNvSpPr>
            <a:spLocks noGrp="1"/>
          </p:cNvSpPr>
          <p:nvPr>
            <p:ph type="body" sz="half" idx="2" hasCustomPrompt="1"/>
          </p:nvPr>
        </p:nvSpPr>
        <p:spPr>
          <a:xfrm>
            <a:off x="4470400" y="3429000"/>
            <a:ext cx="7010400" cy="2336800"/>
          </a:xfrm>
          <a:prstGeom prst="rect">
            <a:avLst/>
          </a:prstGeom>
          <a:noFill/>
        </p:spPr>
        <p:txBody>
          <a:bodyPr anchor="ctr"/>
          <a:lstStyle>
            <a:lvl1pPr marL="0" indent="0">
              <a:spcBef>
                <a:spcPts val="0"/>
              </a:spcBef>
              <a:buFont typeface="Arial" panose="020B0604020202020204" pitchFamily="34" charset="0"/>
              <a:buNone/>
              <a:defRPr sz="22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9" name="Text Placeholder 18">
            <a:extLst>
              <a:ext uri="{FF2B5EF4-FFF2-40B4-BE49-F238E27FC236}">
                <a16:creationId xmlns:a16="http://schemas.microsoft.com/office/drawing/2014/main" id="{8AEF92DC-14E0-5DC2-7BD4-7A178EC54611}"/>
              </a:ext>
            </a:extLst>
          </p:cNvPr>
          <p:cNvSpPr>
            <a:spLocks noGrp="1"/>
          </p:cNvSpPr>
          <p:nvPr>
            <p:ph type="body" sz="quarter" idx="14" hasCustomPrompt="1"/>
          </p:nvPr>
        </p:nvSpPr>
        <p:spPr>
          <a:xfrm>
            <a:off x="4470400" y="2343150"/>
            <a:ext cx="7010400" cy="1085850"/>
          </a:xfrm>
        </p:spPr>
        <p:txBody>
          <a:bodyPr anchor="ctr"/>
          <a:lstStyle>
            <a:lvl1pPr marL="0" indent="0">
              <a:spcBef>
                <a:spcPts val="0"/>
              </a:spcBef>
              <a:buNone/>
              <a:defRPr sz="2400" b="1">
                <a:solidFill>
                  <a:schemeClr val="bg1"/>
                </a:solidFill>
              </a:defRPr>
            </a:lvl1pPr>
          </a:lstStyle>
          <a:p>
            <a:pPr lvl="0"/>
            <a:r>
              <a:rPr lang="en-US"/>
              <a:t>Title here. Keep text short and stay within text box. </a:t>
            </a:r>
          </a:p>
        </p:txBody>
      </p:sp>
      <p:sp>
        <p:nvSpPr>
          <p:cNvPr id="17" name="Picture Placeholder 16">
            <a:extLst>
              <a:ext uri="{FF2B5EF4-FFF2-40B4-BE49-F238E27FC236}">
                <a16:creationId xmlns:a16="http://schemas.microsoft.com/office/drawing/2014/main" id="{96BCDE84-7FE7-5230-64F0-8446DE7E712D}"/>
              </a:ext>
            </a:extLst>
          </p:cNvPr>
          <p:cNvSpPr>
            <a:spLocks noGrp="1"/>
          </p:cNvSpPr>
          <p:nvPr>
            <p:ph type="pic" sz="quarter" idx="13" hasCustomPrompt="1"/>
          </p:nvPr>
        </p:nvSpPr>
        <p:spPr>
          <a:xfrm>
            <a:off x="457201" y="1196977"/>
            <a:ext cx="3759200" cy="3935941"/>
          </a:xfrm>
          <a:custGeom>
            <a:avLst/>
            <a:gdLst>
              <a:gd name="connsiteX0" fmla="*/ 386746 w 3759200"/>
              <a:gd name="connsiteY0" fmla="*/ 0 h 3935941"/>
              <a:gd name="connsiteX1" fmla="*/ 3372454 w 3759200"/>
              <a:gd name="connsiteY1" fmla="*/ 0 h 3935941"/>
              <a:gd name="connsiteX2" fmla="*/ 3759200 w 3759200"/>
              <a:gd name="connsiteY2" fmla="*/ 386746 h 3935941"/>
              <a:gd name="connsiteX3" fmla="*/ 3759200 w 3759200"/>
              <a:gd name="connsiteY3" fmla="*/ 3549195 h 3935941"/>
              <a:gd name="connsiteX4" fmla="*/ 3372454 w 3759200"/>
              <a:gd name="connsiteY4" fmla="*/ 3935941 h 3935941"/>
              <a:gd name="connsiteX5" fmla="*/ 386746 w 3759200"/>
              <a:gd name="connsiteY5" fmla="*/ 3935941 h 3935941"/>
              <a:gd name="connsiteX6" fmla="*/ 0 w 3759200"/>
              <a:gd name="connsiteY6" fmla="*/ 3549195 h 3935941"/>
              <a:gd name="connsiteX7" fmla="*/ 0 w 3759200"/>
              <a:gd name="connsiteY7" fmla="*/ 386746 h 3935941"/>
              <a:gd name="connsiteX8" fmla="*/ 386746 w 3759200"/>
              <a:gd name="connsiteY8" fmla="*/ 0 h 393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9200" h="3935941">
                <a:moveTo>
                  <a:pt x="386746" y="0"/>
                </a:moveTo>
                <a:lnTo>
                  <a:pt x="3372454" y="0"/>
                </a:lnTo>
                <a:cubicBezTo>
                  <a:pt x="3586048" y="0"/>
                  <a:pt x="3759200" y="173152"/>
                  <a:pt x="3759200" y="386746"/>
                </a:cubicBezTo>
                <a:lnTo>
                  <a:pt x="3759200" y="3549195"/>
                </a:lnTo>
                <a:cubicBezTo>
                  <a:pt x="3759200" y="3762789"/>
                  <a:pt x="3586048" y="3935941"/>
                  <a:pt x="3372454" y="3935941"/>
                </a:cubicBezTo>
                <a:lnTo>
                  <a:pt x="386746" y="3935941"/>
                </a:lnTo>
                <a:cubicBezTo>
                  <a:pt x="173152" y="3935941"/>
                  <a:pt x="0" y="3762789"/>
                  <a:pt x="0" y="3549195"/>
                </a:cubicBezTo>
                <a:lnTo>
                  <a:pt x="0" y="386746"/>
                </a:lnTo>
                <a:cubicBezTo>
                  <a:pt x="0" y="173152"/>
                  <a:pt x="173152" y="0"/>
                  <a:pt x="386746" y="0"/>
                </a:cubicBezTo>
                <a:close/>
              </a:path>
            </a:pathLst>
          </a:custGeom>
          <a:solidFill>
            <a:schemeClr val="bg2"/>
          </a:solidFill>
        </p:spPr>
        <p:txBody>
          <a:bodyPr wrap="square" lIns="180000" tIns="720000" rIns="180000">
            <a:noAutofit/>
          </a:bodyPr>
          <a:lstStyle>
            <a:lvl1pPr marL="0" indent="0" algn="ctr">
              <a:buNone/>
              <a:defRPr/>
            </a:lvl1pPr>
          </a:lstStyle>
          <a:p>
            <a:r>
              <a:rPr lang="en-US"/>
              <a:t>Click on the icon to add an image inside the placeholder.</a:t>
            </a:r>
          </a:p>
        </p:txBody>
      </p:sp>
      <p:graphicFrame>
        <p:nvGraphicFramePr>
          <p:cNvPr id="12" name="Object 11" hidden="1">
            <a:extLst>
              <a:ext uri="{FF2B5EF4-FFF2-40B4-BE49-F238E27FC236}">
                <a16:creationId xmlns:a16="http://schemas.microsoft.com/office/drawing/2014/main" id="{DD115845-2923-306D-97D6-4EF0BC50DCFC}"/>
              </a:ext>
            </a:extLst>
          </p:cNvPr>
          <p:cNvGraphicFramePr>
            <a:graphicFrameLocks noChangeAspect="1"/>
          </p:cNvGraphicFramePr>
          <p:nvPr userDrawn="1">
            <p:custDataLst>
              <p:tags r:id="rId3"/>
            </p:custDataLst>
            <p:extLst>
              <p:ext uri="{D42A27DB-BD31-4B8C-83A1-F6EECF244321}">
                <p14:modId xmlns:p14="http://schemas.microsoft.com/office/powerpoint/2010/main" val="37475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DD115845-2923-306D-97D6-4EF0BC50DC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3457249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429377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71459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323670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86045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1053004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Image &amp; Text 2">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D65ACFC-72B6-93DC-F108-5479204054CC}"/>
              </a:ext>
            </a:extLst>
          </p:cNvPr>
          <p:cNvGraphicFramePr>
            <a:graphicFrameLocks noChangeAspect="1"/>
          </p:cNvGraphicFramePr>
          <p:nvPr>
            <p:custDataLst>
              <p:tags r:id="rId2"/>
            </p:custDataLst>
            <p:extLst>
              <p:ext uri="{D42A27DB-BD31-4B8C-83A1-F6EECF244321}">
                <p14:modId xmlns:p14="http://schemas.microsoft.com/office/powerpoint/2010/main" val="2780560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3" name="Object 22" hidden="1">
                        <a:extLst>
                          <a:ext uri="{FF2B5EF4-FFF2-40B4-BE49-F238E27FC236}">
                            <a16:creationId xmlns:a16="http://schemas.microsoft.com/office/drawing/2014/main" id="{2D65ACFC-72B6-93DC-F108-5479204054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18FB71BC-5AAE-13B2-2700-404426A7EF0F}"/>
              </a:ext>
            </a:extLst>
          </p:cNvPr>
          <p:cNvSpPr>
            <a:spLocks noGrp="1"/>
          </p:cNvSpPr>
          <p:nvPr>
            <p:ph type="pic" sz="quarter" idx="19" hasCustomPrompt="1"/>
          </p:nvPr>
        </p:nvSpPr>
        <p:spPr>
          <a:xfrm>
            <a:off x="5590812" y="0"/>
            <a:ext cx="6601188" cy="4126619"/>
          </a:xfrm>
          <a:custGeom>
            <a:avLst/>
            <a:gdLst>
              <a:gd name="connsiteX0" fmla="*/ 477465 w 6601188"/>
              <a:gd name="connsiteY0" fmla="*/ 0 h 4126619"/>
              <a:gd name="connsiteX1" fmla="*/ 6601188 w 6601188"/>
              <a:gd name="connsiteY1" fmla="*/ 0 h 4126619"/>
              <a:gd name="connsiteX2" fmla="*/ 6601188 w 6601188"/>
              <a:gd name="connsiteY2" fmla="*/ 4126619 h 4126619"/>
              <a:gd name="connsiteX3" fmla="*/ 449723 w 6601188"/>
              <a:gd name="connsiteY3" fmla="*/ 2729174 h 4126619"/>
              <a:gd name="connsiteX4" fmla="*/ 14476 w 6601188"/>
              <a:gd name="connsiteY4" fmla="*/ 2038045 h 4126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1188" h="4126619">
                <a:moveTo>
                  <a:pt x="477465" y="0"/>
                </a:moveTo>
                <a:lnTo>
                  <a:pt x="6601188" y="0"/>
                </a:lnTo>
                <a:lnTo>
                  <a:pt x="6601188" y="4126619"/>
                </a:lnTo>
                <a:lnTo>
                  <a:pt x="449723" y="2729174"/>
                </a:lnTo>
                <a:cubicBezTo>
                  <a:pt x="138683" y="2658514"/>
                  <a:pt x="-56184" y="2349085"/>
                  <a:pt x="14476" y="2038045"/>
                </a:cubicBezTo>
                <a:close/>
              </a:path>
            </a:pathLst>
          </a:custGeom>
          <a:solidFill>
            <a:schemeClr val="bg2"/>
          </a:solidFill>
        </p:spPr>
        <p:txBody>
          <a:bodyPr wrap="square" bIns="1440000" anchor="ctr">
            <a:noAutofit/>
          </a:bodyPr>
          <a:lstStyle>
            <a:lvl1pPr marL="0" indent="0" algn="ctr">
              <a:buNone/>
              <a:defRPr/>
            </a:lvl1pPr>
          </a:lstStyle>
          <a:p>
            <a:pPr marL="228600" lvl="0" indent="-228600" algn="ctr"/>
            <a:r>
              <a:rPr lang="en-US"/>
              <a:t>Click on the icon to add an image </a:t>
            </a:r>
            <a:br>
              <a:rPr lang="en-US"/>
            </a:br>
            <a:r>
              <a:rPr lang="en-US"/>
              <a:t>inside the placeholder.</a:t>
            </a:r>
          </a:p>
        </p:txBody>
      </p:sp>
      <p:sp>
        <p:nvSpPr>
          <p:cNvPr id="20" name="Freeform: Shape 19">
            <a:extLst>
              <a:ext uri="{FF2B5EF4-FFF2-40B4-BE49-F238E27FC236}">
                <a16:creationId xmlns:a16="http://schemas.microsoft.com/office/drawing/2014/main" id="{89E0B7B9-CF36-AE90-DAEB-BB64374DC6DC}"/>
              </a:ext>
            </a:extLst>
          </p:cNvPr>
          <p:cNvSpPr/>
          <p:nvPr userDrawn="1"/>
        </p:nvSpPr>
        <p:spPr>
          <a:xfrm rot="797122">
            <a:off x="5933280" y="3734926"/>
            <a:ext cx="6445630" cy="3919944"/>
          </a:xfrm>
          <a:custGeom>
            <a:avLst/>
            <a:gdLst>
              <a:gd name="connsiteX0" fmla="*/ 425527 w 6445630"/>
              <a:gd name="connsiteY0" fmla="*/ 10827 h 3919944"/>
              <a:gd name="connsiteX1" fmla="*/ 532932 w 6445630"/>
              <a:gd name="connsiteY1" fmla="*/ 0 h 3919944"/>
              <a:gd name="connsiteX2" fmla="*/ 5879413 w 6445630"/>
              <a:gd name="connsiteY2" fmla="*/ 0 h 3919944"/>
              <a:gd name="connsiteX3" fmla="*/ 6445630 w 6445630"/>
              <a:gd name="connsiteY3" fmla="*/ 2398000 h 3919944"/>
              <a:gd name="connsiteX4" fmla="*/ 0 w 6445630"/>
              <a:gd name="connsiteY4" fmla="*/ 3919944 h 3919944"/>
              <a:gd name="connsiteX5" fmla="*/ 1 w 6445630"/>
              <a:gd name="connsiteY5" fmla="*/ 532931 h 3919944"/>
              <a:gd name="connsiteX6" fmla="*/ 425527 w 6445630"/>
              <a:gd name="connsiteY6" fmla="*/ 10827 h 391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5630" h="3919944">
                <a:moveTo>
                  <a:pt x="425527" y="10827"/>
                </a:moveTo>
                <a:cubicBezTo>
                  <a:pt x="460220" y="3728"/>
                  <a:pt x="496140" y="0"/>
                  <a:pt x="532932" y="0"/>
                </a:cubicBezTo>
                <a:lnTo>
                  <a:pt x="5879413" y="0"/>
                </a:lnTo>
                <a:lnTo>
                  <a:pt x="6445630" y="2398000"/>
                </a:lnTo>
                <a:lnTo>
                  <a:pt x="0" y="3919944"/>
                </a:lnTo>
                <a:lnTo>
                  <a:pt x="1" y="532931"/>
                </a:lnTo>
                <a:cubicBezTo>
                  <a:pt x="0" y="275392"/>
                  <a:pt x="182679" y="60521"/>
                  <a:pt x="425527" y="1082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Text Placeholder 5">
            <a:extLst>
              <a:ext uri="{FF2B5EF4-FFF2-40B4-BE49-F238E27FC236}">
                <a16:creationId xmlns:a16="http://schemas.microsoft.com/office/drawing/2014/main" id="{356C22AB-3B43-6EFD-0FDF-DB1D485FF5D6}"/>
              </a:ext>
            </a:extLst>
          </p:cNvPr>
          <p:cNvSpPr>
            <a:spLocks noGrp="1"/>
          </p:cNvSpPr>
          <p:nvPr>
            <p:ph type="body" sz="quarter" idx="15" hasCustomPrompt="1"/>
          </p:nvPr>
        </p:nvSpPr>
        <p:spPr>
          <a:xfrm>
            <a:off x="457200" y="174240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5" name="Text Placeholder 5">
            <a:extLst>
              <a:ext uri="{FF2B5EF4-FFF2-40B4-BE49-F238E27FC236}">
                <a16:creationId xmlns:a16="http://schemas.microsoft.com/office/drawing/2014/main" id="{0AC1B8AF-5177-2FEA-3EE6-4C6CCDEA6322}"/>
              </a:ext>
            </a:extLst>
          </p:cNvPr>
          <p:cNvSpPr>
            <a:spLocks noGrp="1"/>
          </p:cNvSpPr>
          <p:nvPr>
            <p:ph type="body" sz="quarter" idx="16" hasCustomPrompt="1"/>
          </p:nvPr>
        </p:nvSpPr>
        <p:spPr>
          <a:xfrm>
            <a:off x="457200" y="3175248"/>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36" name="Text Placeholder 5">
            <a:extLst>
              <a:ext uri="{FF2B5EF4-FFF2-40B4-BE49-F238E27FC236}">
                <a16:creationId xmlns:a16="http://schemas.microsoft.com/office/drawing/2014/main" id="{4F03A9F8-67FD-3EA1-9A3A-516D4BA364A6}"/>
              </a:ext>
            </a:extLst>
          </p:cNvPr>
          <p:cNvSpPr>
            <a:spLocks noGrp="1"/>
          </p:cNvSpPr>
          <p:nvPr>
            <p:ph type="body" sz="quarter" idx="17" hasCustomPrompt="1"/>
          </p:nvPr>
        </p:nvSpPr>
        <p:spPr>
          <a:xfrm>
            <a:off x="457200" y="4608093"/>
            <a:ext cx="4925028" cy="1146175"/>
          </a:xfrm>
          <a:solidFill>
            <a:schemeClr val="bg1"/>
          </a:solidFill>
          <a:effectLst/>
        </p:spPr>
        <p:txBody>
          <a:bodyPr lIns="0" rIns="72000" anchor="ctr" anchorCtr="0"/>
          <a:lstStyle>
            <a:lvl1pPr marL="0" indent="0">
              <a:lnSpc>
                <a:spcPct val="100000"/>
              </a:lnSpc>
              <a:spcBef>
                <a:spcPts val="0"/>
              </a:spcBef>
              <a:buNone/>
              <a:defRPr sz="2200"/>
            </a:lvl1pPr>
            <a:lvl2pPr>
              <a:defRPr sz="1600"/>
            </a:lvl2pPr>
            <a:lvl3pPr>
              <a:defRPr sz="1600"/>
            </a:lvl3pPr>
            <a:lvl4pPr>
              <a:defRPr sz="1600"/>
            </a:lvl4pPr>
            <a:lvl5pPr>
              <a:defRPr sz="1600"/>
            </a:lvl5pPr>
          </a:lstStyle>
          <a:p>
            <a:pPr lvl="0"/>
            <a:r>
              <a:rPr lang="en-US"/>
              <a:t>Text here. Press the Reset button to reset formatting.</a:t>
            </a:r>
          </a:p>
        </p:txBody>
      </p:sp>
      <p:sp>
        <p:nvSpPr>
          <p:cNvPr id="25" name="Text Placeholder 3">
            <a:extLst>
              <a:ext uri="{FF2B5EF4-FFF2-40B4-BE49-F238E27FC236}">
                <a16:creationId xmlns:a16="http://schemas.microsoft.com/office/drawing/2014/main" id="{823FE043-0EA6-DF86-294A-582B0DDA2570}"/>
              </a:ext>
            </a:extLst>
          </p:cNvPr>
          <p:cNvSpPr>
            <a:spLocks noGrp="1"/>
          </p:cNvSpPr>
          <p:nvPr>
            <p:ph type="body" sz="half" idx="2" hasCustomPrompt="1"/>
          </p:nvPr>
        </p:nvSpPr>
        <p:spPr>
          <a:xfrm>
            <a:off x="6634874" y="5189571"/>
            <a:ext cx="5099925" cy="903253"/>
          </a:xfrm>
          <a:prstGeom prst="rect">
            <a:avLst/>
          </a:prstGeom>
          <a:noFill/>
        </p:spPr>
        <p:txBody>
          <a:bodyPr/>
          <a:lstStyle>
            <a:lvl1pPr marL="0" indent="0">
              <a:spcBef>
                <a:spcPts val="0"/>
              </a:spcBef>
              <a:buFont typeface="Arial" panose="020B0604020202020204" pitchFamily="34" charset="0"/>
              <a:buNone/>
              <a:defRPr sz="2200">
                <a:solidFill>
                  <a:srgbClr val="EBF5FA"/>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text here. Use bolded text and color to highlight key information.</a:t>
            </a:r>
          </a:p>
        </p:txBody>
      </p:sp>
      <p:sp>
        <p:nvSpPr>
          <p:cNvPr id="26" name="Text Placeholder 18">
            <a:extLst>
              <a:ext uri="{FF2B5EF4-FFF2-40B4-BE49-F238E27FC236}">
                <a16:creationId xmlns:a16="http://schemas.microsoft.com/office/drawing/2014/main" id="{ADEEED13-866C-CC97-1F97-296655375160}"/>
              </a:ext>
            </a:extLst>
          </p:cNvPr>
          <p:cNvSpPr>
            <a:spLocks noGrp="1"/>
          </p:cNvSpPr>
          <p:nvPr>
            <p:ph type="body" sz="quarter" idx="14" hasCustomPrompt="1"/>
          </p:nvPr>
        </p:nvSpPr>
        <p:spPr>
          <a:xfrm>
            <a:off x="6634874" y="4321422"/>
            <a:ext cx="5099925" cy="870338"/>
          </a:xfrm>
        </p:spPr>
        <p:txBody>
          <a:bodyPr anchor="b"/>
          <a:lstStyle>
            <a:lvl1pPr marL="0" indent="0">
              <a:spcBef>
                <a:spcPts val="0"/>
              </a:spcBef>
              <a:buNone/>
              <a:defRPr sz="2400" b="1">
                <a:solidFill>
                  <a:schemeClr val="bg1"/>
                </a:solidFill>
              </a:defRPr>
            </a:lvl1pPr>
          </a:lstStyle>
          <a:p>
            <a:pPr lvl="0"/>
            <a:r>
              <a:rPr lang="en-US"/>
              <a:t>Text highlight here. Keep text short and stay within text box. </a:t>
            </a:r>
          </a:p>
        </p:txBody>
      </p:sp>
      <p:sp>
        <p:nvSpPr>
          <p:cNvPr id="3" name="Date Placeholder 2">
            <a:extLst>
              <a:ext uri="{FF2B5EF4-FFF2-40B4-BE49-F238E27FC236}">
                <a16:creationId xmlns:a16="http://schemas.microsoft.com/office/drawing/2014/main" id="{4E76C128-FDEE-E8BE-A033-1547B36510A1}"/>
              </a:ext>
            </a:extLst>
          </p:cNvPr>
          <p:cNvSpPr>
            <a:spLocks noGrp="1"/>
          </p:cNvSpPr>
          <p:nvPr>
            <p:ph type="dt" sz="half" idx="10"/>
          </p:nvPr>
        </p:nvSpPr>
        <p:spPr/>
        <p:txBody>
          <a:bodyPr/>
          <a:lstStyle/>
          <a:p>
            <a:fld id="{60C1431A-3138-4938-82DF-5814064CD5D0}" type="datetime1">
              <a:rPr lang="en-US" smtClean="0"/>
              <a:t>4/13/2023</a:t>
            </a:fld>
            <a:endParaRPr lang="en-US"/>
          </a:p>
        </p:txBody>
      </p:sp>
      <p:sp>
        <p:nvSpPr>
          <p:cNvPr id="4" name="Footer Placeholder 3">
            <a:extLst>
              <a:ext uri="{FF2B5EF4-FFF2-40B4-BE49-F238E27FC236}">
                <a16:creationId xmlns:a16="http://schemas.microsoft.com/office/drawing/2014/main" id="{566C02DD-C22B-8CB0-9491-72E2072E452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F438FA3-4E88-6AB9-DCEA-16DA60BD1741}"/>
              </a:ext>
            </a:extLst>
          </p:cNvPr>
          <p:cNvSpPr>
            <a:spLocks noGrp="1"/>
          </p:cNvSpPr>
          <p:nvPr>
            <p:ph type="sldNum" sz="quarter" idx="12"/>
          </p:nvPr>
        </p:nvSpPr>
        <p:spPr/>
        <p:txBody>
          <a:bodyPr/>
          <a:lstStyle>
            <a:lvl1pPr>
              <a:defRPr>
                <a:solidFill>
                  <a:schemeClr val="bg1"/>
                </a:solidFill>
              </a:defRPr>
            </a:lvl1pPr>
          </a:lstStyle>
          <a:p>
            <a:fld id="{F93F11C7-B87C-4933-9AFD-08422E5A18E7}" type="slidenum">
              <a:rPr lang="en-US" smtClean="0"/>
              <a:pPr/>
              <a:t>‹#›</a:t>
            </a:fld>
            <a:endParaRPr lang="en-US"/>
          </a:p>
        </p:txBody>
      </p:sp>
      <p:sp>
        <p:nvSpPr>
          <p:cNvPr id="33" name="Title 32">
            <a:extLst>
              <a:ext uri="{FF2B5EF4-FFF2-40B4-BE49-F238E27FC236}">
                <a16:creationId xmlns:a16="http://schemas.microsoft.com/office/drawing/2014/main" id="{3F9EBE14-C9D1-3F8F-DA67-C2AA0BB8D003}"/>
              </a:ext>
            </a:extLst>
          </p:cNvPr>
          <p:cNvSpPr>
            <a:spLocks noGrp="1"/>
          </p:cNvSpPr>
          <p:nvPr>
            <p:ph type="title"/>
          </p:nvPr>
        </p:nvSpPr>
        <p:spPr>
          <a:xfrm>
            <a:off x="457200" y="346585"/>
            <a:ext cx="4925028" cy="1125980"/>
          </a:xfrm>
        </p:spPr>
        <p:txBody>
          <a:bodyPr vert="horz"/>
          <a:lstStyle/>
          <a:p>
            <a:r>
              <a:rPr lang="en-US"/>
              <a:t>Click to edit Master title style</a:t>
            </a:r>
          </a:p>
        </p:txBody>
      </p:sp>
      <p:pic>
        <p:nvPicPr>
          <p:cNvPr id="6" name="Graphic 5">
            <a:extLst>
              <a:ext uri="{FF2B5EF4-FFF2-40B4-BE49-F238E27FC236}">
                <a16:creationId xmlns:a16="http://schemas.microsoft.com/office/drawing/2014/main" id="{675FD96A-137F-AB9B-EBB3-D78B3976A12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22361" y="6294409"/>
            <a:ext cx="1012439" cy="410862"/>
          </a:xfrm>
          <a:prstGeom prst="rect">
            <a:avLst/>
          </a:prstGeom>
        </p:spPr>
      </p:pic>
    </p:spTree>
    <p:custDataLst>
      <p:tags r:id="rId1"/>
    </p:custDataLst>
    <p:extLst>
      <p:ext uri="{BB962C8B-B14F-4D97-AF65-F5344CB8AC3E}">
        <p14:creationId xmlns:p14="http://schemas.microsoft.com/office/powerpoint/2010/main" val="56072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amp; Text 3">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780DF6FD-8F9F-0E50-6F87-6F3AC0D819AF}"/>
              </a:ext>
            </a:extLst>
          </p:cNvPr>
          <p:cNvGraphicFramePr>
            <a:graphicFrameLocks noChangeAspect="1"/>
          </p:cNvGraphicFramePr>
          <p:nvPr>
            <p:custDataLst>
              <p:tags r:id="rId2"/>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7" name="Object 16" hidden="1">
                        <a:extLst>
                          <a:ext uri="{FF2B5EF4-FFF2-40B4-BE49-F238E27FC236}">
                            <a16:creationId xmlns:a16="http://schemas.microsoft.com/office/drawing/2014/main" id="{780DF6FD-8F9F-0E50-6F87-6F3AC0D81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4FC73D11-3BD6-9DA9-06C8-D30427A47B64}"/>
              </a:ext>
            </a:extLst>
          </p:cNvPr>
          <p:cNvSpPr>
            <a:spLocks noGrp="1"/>
          </p:cNvSpPr>
          <p:nvPr>
            <p:ph type="dt" sz="half" idx="10"/>
          </p:nvPr>
        </p:nvSpPr>
        <p:spPr/>
        <p:txBody>
          <a:bodyPr/>
          <a:lstStyle/>
          <a:p>
            <a:fld id="{F6FCE53F-0D55-4C97-8D37-B5A18BE5B11A}" type="datetime1">
              <a:rPr lang="en-US" smtClean="0"/>
              <a:t>4/13/2023</a:t>
            </a:fld>
            <a:endParaRPr lang="en-US"/>
          </a:p>
        </p:txBody>
      </p:sp>
      <p:sp>
        <p:nvSpPr>
          <p:cNvPr id="4" name="Footer Placeholder 3">
            <a:extLst>
              <a:ext uri="{FF2B5EF4-FFF2-40B4-BE49-F238E27FC236}">
                <a16:creationId xmlns:a16="http://schemas.microsoft.com/office/drawing/2014/main" id="{2A8CEA5C-A1E8-9CEE-94F0-BF4A871F1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77459C-5182-833E-A1F1-0458147AE43E}"/>
              </a:ext>
            </a:extLst>
          </p:cNvPr>
          <p:cNvSpPr>
            <a:spLocks noGrp="1"/>
          </p:cNvSpPr>
          <p:nvPr>
            <p:ph type="sldNum" sz="quarter" idx="12"/>
          </p:nvPr>
        </p:nvSpPr>
        <p:spPr/>
        <p:txBody>
          <a:bodyPr/>
          <a:lstStyle/>
          <a:p>
            <a:fld id="{F93F11C7-B87C-4933-9AFD-08422E5A18E7}" type="slidenum">
              <a:rPr lang="en-US" smtClean="0"/>
              <a:t>‹#›</a:t>
            </a:fld>
            <a:endParaRPr lang="en-US"/>
          </a:p>
        </p:txBody>
      </p:sp>
      <p:sp>
        <p:nvSpPr>
          <p:cNvPr id="7" name="Title 6">
            <a:extLst>
              <a:ext uri="{FF2B5EF4-FFF2-40B4-BE49-F238E27FC236}">
                <a16:creationId xmlns:a16="http://schemas.microsoft.com/office/drawing/2014/main" id="{7F3C8A52-6867-4192-3618-17366DB5B81A}"/>
              </a:ext>
            </a:extLst>
          </p:cNvPr>
          <p:cNvSpPr>
            <a:spLocks noGrp="1"/>
          </p:cNvSpPr>
          <p:nvPr>
            <p:ph type="title"/>
          </p:nvPr>
        </p:nvSpPr>
        <p:spPr/>
        <p:txBody>
          <a:bodyPr vert="horz"/>
          <a:lstStyle/>
          <a:p>
            <a:r>
              <a:rPr lang="en-US"/>
              <a:t>Click to edit Master title style</a:t>
            </a:r>
          </a:p>
        </p:txBody>
      </p:sp>
      <p:sp>
        <p:nvSpPr>
          <p:cNvPr id="8" name="Rectangle 7">
            <a:extLst>
              <a:ext uri="{FF2B5EF4-FFF2-40B4-BE49-F238E27FC236}">
                <a16:creationId xmlns:a16="http://schemas.microsoft.com/office/drawing/2014/main" id="{8117DEB3-E5ED-B0BD-7F6D-3A157D663A81}"/>
              </a:ext>
            </a:extLst>
          </p:cNvPr>
          <p:cNvSpPr/>
          <p:nvPr userDrawn="1"/>
        </p:nvSpPr>
        <p:spPr>
          <a:xfrm>
            <a:off x="6186487" y="1196975"/>
            <a:ext cx="5548312" cy="4895850"/>
          </a:xfrm>
          <a:prstGeom prst="rect">
            <a:avLst/>
          </a:prstGeom>
          <a:solidFill>
            <a:schemeClr val="bg1"/>
          </a:solidFill>
          <a:ln>
            <a:noFill/>
          </a:ln>
          <a:effectLst>
            <a:outerShdw blurRad="127000" sx="102000" sy="102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77F12E80-72C9-320E-8FF9-F9C189F564CB}"/>
              </a:ext>
            </a:extLst>
          </p:cNvPr>
          <p:cNvSpPr>
            <a:spLocks/>
          </p:cNvSpPr>
          <p:nvPr userDrawn="1"/>
        </p:nvSpPr>
        <p:spPr>
          <a:xfrm>
            <a:off x="6369343" y="1196975"/>
            <a:ext cx="5365457" cy="1540093"/>
          </a:xfrm>
          <a:custGeom>
            <a:avLst/>
            <a:gdLst>
              <a:gd name="connsiteX0" fmla="*/ 0 w 5365457"/>
              <a:gd name="connsiteY0" fmla="*/ 0 h 1540093"/>
              <a:gd name="connsiteX1" fmla="*/ 5365457 w 5365457"/>
              <a:gd name="connsiteY1" fmla="*/ 0 h 1540093"/>
              <a:gd name="connsiteX2" fmla="*/ 5365457 w 5365457"/>
              <a:gd name="connsiteY2" fmla="*/ 886855 h 1540093"/>
              <a:gd name="connsiteX3" fmla="*/ 833003 w 5365457"/>
              <a:gd name="connsiteY3" fmla="*/ 1533735 h 1540093"/>
              <a:gd name="connsiteX4" fmla="*/ 214780 w 5365457"/>
              <a:gd name="connsiteY4" fmla="*/ 1146467 h 154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5457" h="1540093">
                <a:moveTo>
                  <a:pt x="0" y="0"/>
                </a:moveTo>
                <a:lnTo>
                  <a:pt x="5365457" y="0"/>
                </a:lnTo>
                <a:lnTo>
                  <a:pt x="5365457" y="886855"/>
                </a:lnTo>
                <a:lnTo>
                  <a:pt x="833003" y="1533735"/>
                </a:lnTo>
                <a:cubicBezTo>
                  <a:pt x="539982" y="1575859"/>
                  <a:pt x="261359" y="1404398"/>
                  <a:pt x="214780" y="114646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Text Placeholder 33">
            <a:extLst>
              <a:ext uri="{FF2B5EF4-FFF2-40B4-BE49-F238E27FC236}">
                <a16:creationId xmlns:a16="http://schemas.microsoft.com/office/drawing/2014/main" id="{22817933-770E-54E9-D0CD-0FD064F6F68D}"/>
              </a:ext>
            </a:extLst>
          </p:cNvPr>
          <p:cNvSpPr>
            <a:spLocks noGrp="1"/>
          </p:cNvSpPr>
          <p:nvPr>
            <p:ph type="body" sz="quarter" idx="18" hasCustomPrompt="1"/>
          </p:nvPr>
        </p:nvSpPr>
        <p:spPr>
          <a:xfrm>
            <a:off x="6713221" y="1318261"/>
            <a:ext cx="4769166" cy="769620"/>
          </a:xfrm>
        </p:spPr>
        <p:txBody>
          <a:bodyPr lIns="72000" anchor="ctr" anchorCtr="0"/>
          <a:lstStyle>
            <a:lvl1pPr marL="0" indent="0" algn="l" rtl="0">
              <a:spcBef>
                <a:spcPts val="0"/>
              </a:spcBef>
              <a:buNone/>
              <a:defRPr sz="2400" b="1">
                <a:solidFill>
                  <a:schemeClr val="tx2"/>
                </a:solidFill>
              </a:defRPr>
            </a:lvl1pPr>
          </a:lstStyle>
          <a:p>
            <a:pPr lvl="0"/>
            <a:r>
              <a:rPr lang="en-US"/>
              <a:t>Title here. Keep text short and within text box.</a:t>
            </a:r>
          </a:p>
        </p:txBody>
      </p:sp>
      <p:sp>
        <p:nvSpPr>
          <p:cNvPr id="25" name="Text Placeholder 3">
            <a:extLst>
              <a:ext uri="{FF2B5EF4-FFF2-40B4-BE49-F238E27FC236}">
                <a16:creationId xmlns:a16="http://schemas.microsoft.com/office/drawing/2014/main" id="{591BFC67-875E-A5F2-C6C9-4E8A7B7639B9}"/>
              </a:ext>
            </a:extLst>
          </p:cNvPr>
          <p:cNvSpPr>
            <a:spLocks noGrp="1"/>
          </p:cNvSpPr>
          <p:nvPr>
            <p:ph type="body" sz="half" idx="2" hasCustomPrompt="1"/>
          </p:nvPr>
        </p:nvSpPr>
        <p:spPr>
          <a:xfrm>
            <a:off x="6539696" y="2870521"/>
            <a:ext cx="4893704" cy="2920679"/>
          </a:xfrm>
          <a:prstGeom prst="rect">
            <a:avLst/>
          </a:prstGeom>
          <a:noFill/>
        </p:spPr>
        <p:txBody>
          <a:bodyPr anchor="ctr"/>
          <a:lstStyle>
            <a:lvl1pPr marL="342900" indent="-342900">
              <a:spcBef>
                <a:spcPts val="1000"/>
              </a:spcBef>
              <a:buFont typeface="Arial" panose="020B0604020202020204" pitchFamily="34" charset="0"/>
              <a:buChar char="•"/>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Add paragraph text here. Increase or decrease font size as needed. Use bolded text and color to highlight key information.</a:t>
            </a:r>
          </a:p>
        </p:txBody>
      </p:sp>
      <p:sp>
        <p:nvSpPr>
          <p:cNvPr id="14" name="Picture Placeholder 13">
            <a:extLst>
              <a:ext uri="{FF2B5EF4-FFF2-40B4-BE49-F238E27FC236}">
                <a16:creationId xmlns:a16="http://schemas.microsoft.com/office/drawing/2014/main" id="{DA7ADF7C-812A-6B07-F8C8-00BC8F725E60}"/>
              </a:ext>
            </a:extLst>
          </p:cNvPr>
          <p:cNvSpPr>
            <a:spLocks noGrp="1"/>
          </p:cNvSpPr>
          <p:nvPr>
            <p:ph type="pic" sz="quarter" idx="14" hasCustomPrompt="1"/>
          </p:nvPr>
        </p:nvSpPr>
        <p:spPr>
          <a:xfrm>
            <a:off x="457199" y="1196975"/>
            <a:ext cx="5548316" cy="4895850"/>
          </a:xfrm>
          <a:custGeom>
            <a:avLst/>
            <a:gdLst>
              <a:gd name="connsiteX0" fmla="*/ 318132 w 5548316"/>
              <a:gd name="connsiteY0" fmla="*/ 0 h 4895850"/>
              <a:gd name="connsiteX1" fmla="*/ 404930 w 5548316"/>
              <a:gd name="connsiteY1" fmla="*/ 0 h 4895850"/>
              <a:gd name="connsiteX2" fmla="*/ 5143390 w 5548316"/>
              <a:gd name="connsiteY2" fmla="*/ 0 h 4895850"/>
              <a:gd name="connsiteX3" fmla="*/ 5230180 w 5548316"/>
              <a:gd name="connsiteY3" fmla="*/ 0 h 4895850"/>
              <a:gd name="connsiteX4" fmla="*/ 5548312 w 5548316"/>
              <a:gd name="connsiteY4" fmla="*/ 318132 h 4895850"/>
              <a:gd name="connsiteX5" fmla="*/ 5548312 w 5548316"/>
              <a:gd name="connsiteY5" fmla="*/ 860559 h 4895850"/>
              <a:gd name="connsiteX6" fmla="*/ 5548316 w 5548316"/>
              <a:gd name="connsiteY6" fmla="*/ 860643 h 4895850"/>
              <a:gd name="connsiteX7" fmla="*/ 5548316 w 5548316"/>
              <a:gd name="connsiteY7" fmla="*/ 4035208 h 4895850"/>
              <a:gd name="connsiteX8" fmla="*/ 5548312 w 5548316"/>
              <a:gd name="connsiteY8" fmla="*/ 4035292 h 4895850"/>
              <a:gd name="connsiteX9" fmla="*/ 5548312 w 5548316"/>
              <a:gd name="connsiteY9" fmla="*/ 4577718 h 4895850"/>
              <a:gd name="connsiteX10" fmla="*/ 5230180 w 5548316"/>
              <a:gd name="connsiteY10" fmla="*/ 4895850 h 4895850"/>
              <a:gd name="connsiteX11" fmla="*/ 5143390 w 5548316"/>
              <a:gd name="connsiteY11" fmla="*/ 4895850 h 4895850"/>
              <a:gd name="connsiteX12" fmla="*/ 404930 w 5548316"/>
              <a:gd name="connsiteY12" fmla="*/ 4895850 h 4895850"/>
              <a:gd name="connsiteX13" fmla="*/ 318132 w 5548316"/>
              <a:gd name="connsiteY13" fmla="*/ 4895850 h 4895850"/>
              <a:gd name="connsiteX14" fmla="*/ 0 w 5548316"/>
              <a:gd name="connsiteY14" fmla="*/ 4577718 h 4895850"/>
              <a:gd name="connsiteX15" fmla="*/ 0 w 5548316"/>
              <a:gd name="connsiteY15" fmla="*/ 318132 h 4895850"/>
              <a:gd name="connsiteX16" fmla="*/ 318132 w 5548316"/>
              <a:gd name="connsiteY16" fmla="*/ 0 h 489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48316" h="4895850">
                <a:moveTo>
                  <a:pt x="318132" y="0"/>
                </a:moveTo>
                <a:lnTo>
                  <a:pt x="404930" y="0"/>
                </a:lnTo>
                <a:lnTo>
                  <a:pt x="5143390" y="0"/>
                </a:lnTo>
                <a:lnTo>
                  <a:pt x="5230180" y="0"/>
                </a:lnTo>
                <a:cubicBezTo>
                  <a:pt x="5405879" y="0"/>
                  <a:pt x="5548312" y="142433"/>
                  <a:pt x="5548312" y="318132"/>
                </a:cubicBezTo>
                <a:lnTo>
                  <a:pt x="5548312" y="860559"/>
                </a:lnTo>
                <a:lnTo>
                  <a:pt x="5548316" y="860643"/>
                </a:lnTo>
                <a:lnTo>
                  <a:pt x="5548316" y="4035208"/>
                </a:lnTo>
                <a:lnTo>
                  <a:pt x="5548312" y="4035292"/>
                </a:lnTo>
                <a:lnTo>
                  <a:pt x="5548312" y="4577718"/>
                </a:lnTo>
                <a:cubicBezTo>
                  <a:pt x="5548312" y="4753417"/>
                  <a:pt x="5405879" y="4895850"/>
                  <a:pt x="5230180" y="4895850"/>
                </a:cubicBezTo>
                <a:lnTo>
                  <a:pt x="5143390" y="4895850"/>
                </a:lnTo>
                <a:lnTo>
                  <a:pt x="404930" y="4895850"/>
                </a:lnTo>
                <a:lnTo>
                  <a:pt x="318132" y="4895850"/>
                </a:lnTo>
                <a:cubicBezTo>
                  <a:pt x="142433" y="4895850"/>
                  <a:pt x="0" y="4753417"/>
                  <a:pt x="0" y="4577718"/>
                </a:cubicBezTo>
                <a:lnTo>
                  <a:pt x="0" y="318132"/>
                </a:lnTo>
                <a:cubicBezTo>
                  <a:pt x="0" y="142433"/>
                  <a:pt x="142433" y="0"/>
                  <a:pt x="318132" y="0"/>
                </a:cubicBezTo>
                <a:close/>
              </a:path>
            </a:pathLst>
          </a:custGeom>
          <a:solidFill>
            <a:schemeClr val="bg2"/>
          </a:solidFill>
        </p:spPr>
        <p:txBody>
          <a:bodyPr vert="horz" wrap="square" lIns="180000" tIns="1080000" rIns="180000" bIns="72000" rtlCol="0">
            <a:noAutofit/>
          </a:bodyPr>
          <a:lstStyle>
            <a:lvl1pPr marL="0" indent="0" algn="ctr">
              <a:spcBef>
                <a:spcPts val="0"/>
              </a:spcBef>
              <a:buNone/>
              <a:defRPr lang="en-GB"/>
            </a:lvl1pPr>
          </a:lstStyle>
          <a:p>
            <a:pPr marL="228600" lvl="0" indent="-228600" algn="ctr"/>
            <a:r>
              <a:rPr lang="en-US"/>
              <a:t>Click on the icon to add an image </a:t>
            </a:r>
            <a:br>
              <a:rPr lang="en-US"/>
            </a:br>
            <a:r>
              <a:rPr lang="en-US"/>
              <a:t>inside the placeholder.</a:t>
            </a:r>
          </a:p>
        </p:txBody>
      </p:sp>
      <p:graphicFrame>
        <p:nvGraphicFramePr>
          <p:cNvPr id="12" name="Object 11" hidden="1">
            <a:extLst>
              <a:ext uri="{FF2B5EF4-FFF2-40B4-BE49-F238E27FC236}">
                <a16:creationId xmlns:a16="http://schemas.microsoft.com/office/drawing/2014/main" id="{132C5353-E580-7872-5BE5-0A78743E20F3}"/>
              </a:ext>
            </a:extLst>
          </p:cNvPr>
          <p:cNvGraphicFramePr>
            <a:graphicFrameLocks noChangeAspect="1"/>
          </p:cNvGraphicFramePr>
          <p:nvPr userDrawn="1">
            <p:custDataLst>
              <p:tags r:id="rId3"/>
            </p:custDataLst>
            <p:extLst>
              <p:ext uri="{D42A27DB-BD31-4B8C-83A1-F6EECF244321}">
                <p14:modId xmlns:p14="http://schemas.microsoft.com/office/powerpoint/2010/main" val="327011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12" name="Object 11" hidden="1">
                        <a:extLst>
                          <a:ext uri="{FF2B5EF4-FFF2-40B4-BE49-F238E27FC236}">
                            <a16:creationId xmlns:a16="http://schemas.microsoft.com/office/drawing/2014/main" id="{132C5353-E580-7872-5BE5-0A78743E20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custDataLst>
      <p:tags r:id="rId1"/>
    </p:custDataLst>
    <p:extLst>
      <p:ext uri="{BB962C8B-B14F-4D97-AF65-F5344CB8AC3E}">
        <p14:creationId xmlns:p14="http://schemas.microsoft.com/office/powerpoint/2010/main" val="282924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2.bin"/><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tags" Target="../tags/tag82.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oleObject" Target="../embeddings/oleObject48.bin"/><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tags" Target="../tags/tag83.xml"/><Relationship Id="rId45" Type="http://schemas.openxmlformats.org/officeDocument/2006/relationships/image" Target="../media/image2.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4" Type="http://schemas.openxmlformats.org/officeDocument/2006/relationships/oleObject" Target="../embeddings/oleObject49.bin"/><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image" Target="../media/image1.emf"/><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theme" Target="../theme/theme2.xml"/><Relationship Id="rId46" Type="http://schemas.openxmlformats.org/officeDocument/2006/relationships/image" Target="../media/image3.svg"/><Relationship Id="rId20" Type="http://schemas.openxmlformats.org/officeDocument/2006/relationships/slideLayout" Target="../slideLayouts/slideLayout52.xml"/><Relationship Id="rId41" Type="http://schemas.openxmlformats.org/officeDocument/2006/relationships/tags" Target="../tags/tag8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tags" Target="../tags/tag166.xml"/><Relationship Id="rId50" Type="http://schemas.openxmlformats.org/officeDocument/2006/relationships/oleObject" Target="../embeddings/oleObject97.bin"/><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image" Target="../media/image2.png"/><Relationship Id="rId5" Type="http://schemas.openxmlformats.org/officeDocument/2006/relationships/slideLayout" Target="../slideLayouts/slideLayout7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oleObject" Target="../embeddings/oleObject98.bin"/><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tags" Target="../tags/tag167.xml"/><Relationship Id="rId8" Type="http://schemas.openxmlformats.org/officeDocument/2006/relationships/slideLayout" Target="../slideLayouts/slideLayout77.xml"/><Relationship Id="rId51" Type="http://schemas.openxmlformats.org/officeDocument/2006/relationships/image" Target="../media/image1.emf"/><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theme" Target="../theme/theme3.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image" Target="../media/image3.svg"/><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tags" Target="../tags/tag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35"/>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06" imgH="306" progId="TCLayout.ActiveDocument.1">
                  <p:embed/>
                </p:oleObj>
              </mc:Choice>
              <mc:Fallback>
                <p:oleObj name="think-cell Slide" r:id="rId37"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36"/>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06" imgH="306" progId="TCLayout.ActiveDocument.1">
                  <p:embed/>
                </p:oleObj>
              </mc:Choice>
              <mc:Fallback>
                <p:oleObj name="think-cell Slide" r:id="rId39"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10722361" y="6294409"/>
            <a:ext cx="1012439" cy="410862"/>
          </a:xfrm>
          <a:prstGeom prst="rect">
            <a:avLst/>
          </a:prstGeom>
        </p:spPr>
      </p:pic>
    </p:spTree>
    <p:custDataLst>
      <p:tags r:id="rId34"/>
    </p:custDataLst>
    <p:extLst>
      <p:ext uri="{BB962C8B-B14F-4D97-AF65-F5344CB8AC3E}">
        <p14:creationId xmlns:p14="http://schemas.microsoft.com/office/powerpoint/2010/main" val="295471319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10" r:id="rId3"/>
    <p:sldLayoutId id="2147483711" r:id="rId4"/>
    <p:sldLayoutId id="2147483708" r:id="rId5"/>
    <p:sldLayoutId id="2147483709" r:id="rId6"/>
    <p:sldLayoutId id="2147483712" r:id="rId7"/>
    <p:sldLayoutId id="2147483713" r:id="rId8"/>
    <p:sldLayoutId id="2147483714" r:id="rId9"/>
    <p:sldLayoutId id="2147483715" r:id="rId10"/>
    <p:sldLayoutId id="2147483716" r:id="rId11"/>
    <p:sldLayoutId id="2147483717" r:id="rId12"/>
    <p:sldLayoutId id="2147483720" r:id="rId13"/>
    <p:sldLayoutId id="2147483721"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 id="2147483734" r:id="rId26"/>
    <p:sldLayoutId id="2147483735" r:id="rId27"/>
    <p:sldLayoutId id="2147483736" r:id="rId28"/>
    <p:sldLayoutId id="2147483737" r:id="rId29"/>
    <p:sldLayoutId id="2147483742" r:id="rId30"/>
    <p:sldLayoutId id="2147483741" r:id="rId31"/>
    <p:sldLayoutId id="2147483739"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userDrawn="1">
          <p15:clr>
            <a:srgbClr val="A4A3A4"/>
          </p15:clr>
        </p15:guide>
        <p15:guide id="20" pos="7680" userDrawn="1">
          <p15:clr>
            <a:srgbClr val="C4CECF"/>
          </p15:clr>
        </p15:guide>
        <p15:guide id="21" pos="288" userDrawn="1">
          <p15:clr>
            <a:srgbClr val="F26B43"/>
          </p15:clr>
        </p15:guide>
        <p15:guide id="22" pos="1472" userDrawn="1">
          <p15:clr>
            <a:srgbClr val="C4CECF"/>
          </p15:clr>
        </p15:guide>
        <p15:guide id="23" pos="2656" userDrawn="1">
          <p15:clr>
            <a:srgbClr val="C4CECF"/>
          </p15:clr>
        </p15:guide>
        <p15:guide id="24" pos="3840" userDrawn="1">
          <p15:clr>
            <a:srgbClr val="C4CECF"/>
          </p15:clr>
        </p15:guide>
        <p15:guide id="25" pos="5024" userDrawn="1">
          <p15:clr>
            <a:srgbClr val="C4CECF"/>
          </p15:clr>
        </p15:guide>
        <p15:guide id="26" pos="6199" userDrawn="1">
          <p15:clr>
            <a:srgbClr val="C4CECF"/>
          </p15:clr>
        </p15:guide>
        <p15:guide id="27" pos="7392" userDrawn="1">
          <p15:clr>
            <a:srgbClr val="F26B43"/>
          </p15:clr>
        </p15:guide>
        <p15:guide id="28" orient="horz" userDrawn="1">
          <p15:clr>
            <a:srgbClr val="C4CECF"/>
          </p15:clr>
        </p15:guide>
        <p15:guide id="29" orient="horz" pos="4320" userDrawn="1">
          <p15:clr>
            <a:srgbClr val="C4CECF"/>
          </p15:clr>
        </p15:guide>
        <p15:guide id="30" orient="horz" pos="288" userDrawn="1">
          <p15:clr>
            <a:srgbClr val="F26B43"/>
          </p15:clr>
        </p15:guide>
        <p15:guide id="31" orient="horz" pos="2296" userDrawn="1">
          <p15:clr>
            <a:srgbClr val="C4CECF"/>
          </p15:clr>
        </p15:guide>
        <p15:guide id="32" orient="horz" pos="754" userDrawn="1">
          <p15:clr>
            <a:srgbClr val="F26B43"/>
          </p15:clr>
        </p15:guide>
        <p15:guide id="33" orient="horz" pos="3838" userDrawn="1">
          <p15:clr>
            <a:srgbClr val="F26B43"/>
          </p15:clr>
        </p15:guide>
        <p15:guide id="34" orient="horz" pos="504"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40"/>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06" imgH="306" progId="TCLayout.ActiveDocument.1">
                  <p:embed/>
                </p:oleObj>
              </mc:Choice>
              <mc:Fallback>
                <p:oleObj name="think-cell Slide" r:id="rId42"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41"/>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306" imgH="306" progId="TCLayout.ActiveDocument.1">
                  <p:embed/>
                </p:oleObj>
              </mc:Choice>
              <mc:Fallback>
                <p:oleObj name="think-cell Slide" r:id="rId44"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45">
            <a:extLst>
              <a:ext uri="{96DAC541-7B7A-43D3-8B79-37D633B846F1}">
                <asvg:svgBlip xmlns:asvg="http://schemas.microsoft.com/office/drawing/2016/SVG/main" r:embed="rId46"/>
              </a:ext>
            </a:extLst>
          </a:blip>
          <a:stretch>
            <a:fillRect/>
          </a:stretch>
        </p:blipFill>
        <p:spPr>
          <a:xfrm>
            <a:off x="10722361" y="6294409"/>
            <a:ext cx="1012439" cy="410862"/>
          </a:xfrm>
          <a:prstGeom prst="rect">
            <a:avLst/>
          </a:prstGeom>
        </p:spPr>
      </p:pic>
    </p:spTree>
    <p:custDataLst>
      <p:tags r:id="rId39"/>
    </p:custDataLst>
    <p:extLst>
      <p:ext uri="{BB962C8B-B14F-4D97-AF65-F5344CB8AC3E}">
        <p14:creationId xmlns:p14="http://schemas.microsoft.com/office/powerpoint/2010/main" val="2954713193"/>
      </p:ext>
    </p:extLst>
  </p:cSld>
  <p:clrMap bg1="lt1" tx1="dk1" bg2="lt2" tx2="dk2" accent1="accent1" accent2="accent2" accent3="accent3" accent4="accent4" accent5="accent5" accent6="accent6" hlink="hlink" folHlink="folHlink"/>
  <p:sldLayoutIdLst>
    <p:sldLayoutId id="2147483822" r:id="rId1"/>
    <p:sldLayoutId id="2147483827" r:id="rId2"/>
    <p:sldLayoutId id="2147483809" r:id="rId3"/>
    <p:sldLayoutId id="2147483810" r:id="rId4"/>
    <p:sldLayoutId id="2147483811" r:id="rId5"/>
    <p:sldLayoutId id="2147483812" r:id="rId6"/>
    <p:sldLayoutId id="2147483813" r:id="rId7"/>
    <p:sldLayoutId id="2147483829"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 id="2147483775" r:id="rId29"/>
    <p:sldLayoutId id="2147483776" r:id="rId30"/>
    <p:sldLayoutId id="2147483777" r:id="rId31"/>
    <p:sldLayoutId id="2147483778" r:id="rId32"/>
    <p:sldLayoutId id="2147483779" r:id="rId33"/>
    <p:sldLayoutId id="2147483780" r:id="rId34"/>
    <p:sldLayoutId id="2147483781" r:id="rId35"/>
    <p:sldLayoutId id="2147483782" r:id="rId36"/>
    <p:sldLayoutId id="2147483783"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userDrawn="1">
          <p15:clr>
            <a:srgbClr val="A4A3A4"/>
          </p15:clr>
        </p15:guide>
        <p15:guide id="20" pos="7680" userDrawn="1">
          <p15:clr>
            <a:srgbClr val="C4CECF"/>
          </p15:clr>
        </p15:guide>
        <p15:guide id="21" pos="288" userDrawn="1">
          <p15:clr>
            <a:srgbClr val="F26B43"/>
          </p15:clr>
        </p15:guide>
        <p15:guide id="22" pos="1472" userDrawn="1">
          <p15:clr>
            <a:srgbClr val="C4CECF"/>
          </p15:clr>
        </p15:guide>
        <p15:guide id="23" pos="2656" userDrawn="1">
          <p15:clr>
            <a:srgbClr val="C4CECF"/>
          </p15:clr>
        </p15:guide>
        <p15:guide id="24" pos="3840" userDrawn="1">
          <p15:clr>
            <a:srgbClr val="C4CECF"/>
          </p15:clr>
        </p15:guide>
        <p15:guide id="25" pos="5024" userDrawn="1">
          <p15:clr>
            <a:srgbClr val="C4CECF"/>
          </p15:clr>
        </p15:guide>
        <p15:guide id="26" pos="6199" userDrawn="1">
          <p15:clr>
            <a:srgbClr val="C4CECF"/>
          </p15:clr>
        </p15:guide>
        <p15:guide id="27" pos="7392" userDrawn="1">
          <p15:clr>
            <a:srgbClr val="F26B43"/>
          </p15:clr>
        </p15:guide>
        <p15:guide id="28" orient="horz" userDrawn="1">
          <p15:clr>
            <a:srgbClr val="C4CECF"/>
          </p15:clr>
        </p15:guide>
        <p15:guide id="29" orient="horz" pos="4320" userDrawn="1">
          <p15:clr>
            <a:srgbClr val="C4CECF"/>
          </p15:clr>
        </p15:guide>
        <p15:guide id="30" orient="horz" pos="288" userDrawn="1">
          <p15:clr>
            <a:srgbClr val="F26B43"/>
          </p15:clr>
        </p15:guide>
        <p15:guide id="31" orient="horz" pos="2296" userDrawn="1">
          <p15:clr>
            <a:srgbClr val="C4CECF"/>
          </p15:clr>
        </p15:guide>
        <p15:guide id="32" orient="horz" pos="754" userDrawn="1">
          <p15:clr>
            <a:srgbClr val="F26B43"/>
          </p15:clr>
        </p15:guide>
        <p15:guide id="33" orient="horz" pos="3838" userDrawn="1">
          <p15:clr>
            <a:srgbClr val="F26B43"/>
          </p15:clr>
        </p15:guide>
        <p15:guide id="34" orient="horz" pos="504" userDrawn="1">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EEB8C7-9636-7472-1B3A-1F530FFC8EFA}"/>
              </a:ext>
            </a:extLst>
          </p:cNvPr>
          <p:cNvGraphicFramePr>
            <a:graphicFrameLocks noChangeAspect="1"/>
          </p:cNvGraphicFramePr>
          <p:nvPr>
            <p:custDataLst>
              <p:tags r:id="rId48"/>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06" imgH="306" progId="TCLayout.ActiveDocument.1">
                  <p:embed/>
                </p:oleObj>
              </mc:Choice>
              <mc:Fallback>
                <p:oleObj name="think-cell Slide" r:id="rId50" imgW="306" imgH="306" progId="TCLayout.ActiveDocument.1">
                  <p:embed/>
                  <p:pic>
                    <p:nvPicPr>
                      <p:cNvPr id="9" name="Object 8" hidden="1">
                        <a:extLst>
                          <a:ext uri="{FF2B5EF4-FFF2-40B4-BE49-F238E27FC236}">
                            <a16:creationId xmlns:a16="http://schemas.microsoft.com/office/drawing/2014/main" id="{7DEEB8C7-9636-7472-1B3A-1F530FFC8EFA}"/>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69F60D-9429-F273-018C-A0F62EA35FFA}"/>
              </a:ext>
            </a:extLst>
          </p:cNvPr>
          <p:cNvSpPr>
            <a:spLocks noGrp="1"/>
          </p:cNvSpPr>
          <p:nvPr>
            <p:ph type="title"/>
          </p:nvPr>
        </p:nvSpPr>
        <p:spPr>
          <a:xfrm>
            <a:off x="457200" y="358160"/>
            <a:ext cx="11277600" cy="657840"/>
          </a:xfrm>
          <a:prstGeom prst="rect">
            <a:avLst/>
          </a:prstGeom>
        </p:spPr>
        <p:txBody>
          <a:bodyPr vert="horz" lIns="0" tIns="72000" rIns="72000" bIns="7200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41746699-9995-4AC7-342A-91F039D7CF18}"/>
              </a:ext>
            </a:extLst>
          </p:cNvPr>
          <p:cNvSpPr>
            <a:spLocks noGrp="1"/>
          </p:cNvSpPr>
          <p:nvPr>
            <p:ph type="body" idx="1"/>
          </p:nvPr>
        </p:nvSpPr>
        <p:spPr>
          <a:xfrm>
            <a:off x="457200" y="1200801"/>
            <a:ext cx="11277598" cy="4892024"/>
          </a:xfrm>
          <a:prstGeom prst="rect">
            <a:avLst/>
          </a:prstGeom>
        </p:spPr>
        <p:txBody>
          <a:bodyPr vert="horz" lIns="0" tIns="72000" rIns="72000" bIns="720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6B28DC8-AFCF-40F4-5D8E-2F3F7460EACD}"/>
              </a:ext>
            </a:extLst>
          </p:cNvPr>
          <p:cNvSpPr>
            <a:spLocks noGrp="1"/>
          </p:cNvSpPr>
          <p:nvPr>
            <p:ph type="dt" sz="half" idx="2"/>
          </p:nvPr>
        </p:nvSpPr>
        <p:spPr>
          <a:xfrm rot="5400000">
            <a:off x="-291144" y="5236532"/>
            <a:ext cx="1039487" cy="457199"/>
          </a:xfrm>
          <a:prstGeom prst="rect">
            <a:avLst/>
          </a:prstGeom>
        </p:spPr>
        <p:txBody>
          <a:bodyPr vert="horz" lIns="91440" tIns="45720" rIns="91440" bIns="45720" rtlCol="0" anchor="ctr"/>
          <a:lstStyle>
            <a:lvl1pPr algn="ctr">
              <a:defRPr sz="1000">
                <a:solidFill>
                  <a:schemeClr val="bg2">
                    <a:lumMod val="90000"/>
                  </a:schemeClr>
                </a:solidFill>
              </a:defRPr>
            </a:lvl1pPr>
          </a:lstStyle>
          <a:p>
            <a:fld id="{BABFE860-21FD-4DA0-9E9A-92548ED661C3}" type="datetime1">
              <a:rPr lang="en-US" smtClean="0"/>
              <a:t>4/13/2023</a:t>
            </a:fld>
            <a:endParaRPr lang="en-US"/>
          </a:p>
        </p:txBody>
      </p:sp>
      <p:sp>
        <p:nvSpPr>
          <p:cNvPr id="5" name="Footer Placeholder 4">
            <a:extLst>
              <a:ext uri="{FF2B5EF4-FFF2-40B4-BE49-F238E27FC236}">
                <a16:creationId xmlns:a16="http://schemas.microsoft.com/office/drawing/2014/main" id="{DA8DB183-AE2B-FB8E-0B2C-D60EFC78D6C1}"/>
              </a:ext>
            </a:extLst>
          </p:cNvPr>
          <p:cNvSpPr>
            <a:spLocks noGrp="1"/>
          </p:cNvSpPr>
          <p:nvPr>
            <p:ph type="ftr" sz="quarter" idx="3"/>
          </p:nvPr>
        </p:nvSpPr>
        <p:spPr>
          <a:xfrm>
            <a:off x="457200" y="6254713"/>
            <a:ext cx="7518400" cy="490253"/>
          </a:xfrm>
          <a:prstGeom prst="rect">
            <a:avLst/>
          </a:prstGeom>
        </p:spPr>
        <p:txBody>
          <a:bodyPr vert="horz" lIns="0" tIns="72000" rIns="72000" bIns="72000" rtlCol="0" anchor="ctr"/>
          <a:lstStyle>
            <a:lvl1pPr algn="l">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A0CB87-8E5E-8A57-E967-9D51BBBC63A4}"/>
              </a:ext>
            </a:extLst>
          </p:cNvPr>
          <p:cNvSpPr>
            <a:spLocks noGrp="1"/>
          </p:cNvSpPr>
          <p:nvPr>
            <p:ph type="sldNum" sz="quarter" idx="4"/>
          </p:nvPr>
        </p:nvSpPr>
        <p:spPr>
          <a:xfrm>
            <a:off x="11734799" y="6254713"/>
            <a:ext cx="457201" cy="490253"/>
          </a:xfrm>
          <a:prstGeom prst="rect">
            <a:avLst/>
          </a:prstGeom>
        </p:spPr>
        <p:txBody>
          <a:bodyPr vert="horz" lIns="72000" tIns="72000" rIns="72000" bIns="72000" rtlCol="0" anchor="ctr"/>
          <a:lstStyle>
            <a:lvl1pPr algn="ctr">
              <a:defRPr sz="1000">
                <a:solidFill>
                  <a:srgbClr val="042549"/>
                </a:solidFill>
              </a:defRPr>
            </a:lvl1pPr>
          </a:lstStyle>
          <a:p>
            <a:fld id="{F93F11C7-B87C-4933-9AFD-08422E5A18E7}" type="slidenum">
              <a:rPr lang="en-US" smtClean="0"/>
              <a:pPr/>
              <a:t>‹#›</a:t>
            </a:fld>
            <a:endParaRPr lang="en-US"/>
          </a:p>
        </p:txBody>
      </p:sp>
      <p:graphicFrame>
        <p:nvGraphicFramePr>
          <p:cNvPr id="10" name="Object 9" hidden="1">
            <a:extLst>
              <a:ext uri="{FF2B5EF4-FFF2-40B4-BE49-F238E27FC236}">
                <a16:creationId xmlns:a16="http://schemas.microsoft.com/office/drawing/2014/main" id="{1436AACE-E54F-276A-0021-FAC0D4BBE141}"/>
              </a:ext>
            </a:extLst>
          </p:cNvPr>
          <p:cNvGraphicFramePr>
            <a:graphicFrameLocks noChangeAspect="1"/>
          </p:cNvGraphicFramePr>
          <p:nvPr userDrawn="1">
            <p:custDataLst>
              <p:tags r:id="rId49"/>
            </p:custDataLst>
            <p:extLst>
              <p:ext uri="{D42A27DB-BD31-4B8C-83A1-F6EECF244321}">
                <p14:modId xmlns:p14="http://schemas.microsoft.com/office/powerpoint/2010/main" val="220779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06" imgH="306" progId="TCLayout.ActiveDocument.1">
                  <p:embed/>
                </p:oleObj>
              </mc:Choice>
              <mc:Fallback>
                <p:oleObj name="think-cell Slide" r:id="rId52" imgW="306" imgH="306" progId="TCLayout.ActiveDocument.1">
                  <p:embed/>
                  <p:pic>
                    <p:nvPicPr>
                      <p:cNvPr id="10" name="Object 9" hidden="1">
                        <a:extLst>
                          <a:ext uri="{FF2B5EF4-FFF2-40B4-BE49-F238E27FC236}">
                            <a16:creationId xmlns:a16="http://schemas.microsoft.com/office/drawing/2014/main" id="{1436AACE-E54F-276A-0021-FAC0D4BBE141}"/>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16CD1AC4-47C3-1222-7D63-1448C469F704}"/>
              </a:ext>
            </a:extLst>
          </p:cNvPr>
          <p:cNvPicPr>
            <a:picLocks noChangeAspect="1"/>
          </p:cNvPicPr>
          <p:nvPr userDrawn="1"/>
        </p:nvPicPr>
        <p:blipFill>
          <a:blip r:embed="rId53">
            <a:extLst>
              <a:ext uri="{96DAC541-7B7A-43D3-8B79-37D633B846F1}">
                <asvg:svgBlip xmlns:asvg="http://schemas.microsoft.com/office/drawing/2016/SVG/main" r:embed="rId54"/>
              </a:ext>
            </a:extLst>
          </a:blip>
          <a:stretch>
            <a:fillRect/>
          </a:stretch>
        </p:blipFill>
        <p:spPr>
          <a:xfrm>
            <a:off x="10722361" y="6294409"/>
            <a:ext cx="1012439" cy="410862"/>
          </a:xfrm>
          <a:prstGeom prst="rect">
            <a:avLst/>
          </a:prstGeom>
        </p:spPr>
      </p:pic>
    </p:spTree>
    <p:custDataLst>
      <p:tags r:id="rId47"/>
    </p:custDataLst>
    <p:extLst>
      <p:ext uri="{BB962C8B-B14F-4D97-AF65-F5344CB8AC3E}">
        <p14:creationId xmlns:p14="http://schemas.microsoft.com/office/powerpoint/2010/main" val="295471319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749" r:id="rId25"/>
    <p:sldLayoutId id="2147483750" r:id="rId26"/>
    <p:sldLayoutId id="2147483751" r:id="rId27"/>
    <p:sldLayoutId id="2147483752" r:id="rId28"/>
    <p:sldLayoutId id="2147483753" r:id="rId29"/>
    <p:sldLayoutId id="2147483814" r:id="rId30"/>
    <p:sldLayoutId id="2147483815" r:id="rId31"/>
    <p:sldLayoutId id="2147483816" r:id="rId32"/>
    <p:sldLayoutId id="2147483817" r:id="rId33"/>
    <p:sldLayoutId id="2147483818" r:id="rId34"/>
    <p:sldLayoutId id="2147483819" r:id="rId35"/>
    <p:sldLayoutId id="2147483745" r:id="rId36"/>
    <p:sldLayoutId id="2147483746" r:id="rId37"/>
    <p:sldLayoutId id="2147483747" r:id="rId38"/>
    <p:sldLayoutId id="2147483823" r:id="rId39"/>
    <p:sldLayoutId id="2147483824" r:id="rId40"/>
    <p:sldLayoutId id="2147483825" r:id="rId41"/>
    <p:sldLayoutId id="2147483743" r:id="rId42"/>
    <p:sldLayoutId id="2147483748" r:id="rId43"/>
    <p:sldLayoutId id="2147483744" r:id="rId44"/>
    <p:sldLayoutId id="2147483754"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9" userDrawn="1">
          <p15:clr>
            <a:srgbClr val="A4A3A4"/>
          </p15:clr>
        </p15:guide>
        <p15:guide id="20" pos="7680" userDrawn="1">
          <p15:clr>
            <a:srgbClr val="C4CECF"/>
          </p15:clr>
        </p15:guide>
        <p15:guide id="21" pos="288" userDrawn="1">
          <p15:clr>
            <a:srgbClr val="F26B43"/>
          </p15:clr>
        </p15:guide>
        <p15:guide id="22" pos="1472" userDrawn="1">
          <p15:clr>
            <a:srgbClr val="C4CECF"/>
          </p15:clr>
        </p15:guide>
        <p15:guide id="23" pos="2656" userDrawn="1">
          <p15:clr>
            <a:srgbClr val="C4CECF"/>
          </p15:clr>
        </p15:guide>
        <p15:guide id="24" pos="3840" userDrawn="1">
          <p15:clr>
            <a:srgbClr val="C4CECF"/>
          </p15:clr>
        </p15:guide>
        <p15:guide id="25" pos="5024" userDrawn="1">
          <p15:clr>
            <a:srgbClr val="C4CECF"/>
          </p15:clr>
        </p15:guide>
        <p15:guide id="26" pos="6199" userDrawn="1">
          <p15:clr>
            <a:srgbClr val="C4CECF"/>
          </p15:clr>
        </p15:guide>
        <p15:guide id="27" pos="7392" userDrawn="1">
          <p15:clr>
            <a:srgbClr val="F26B43"/>
          </p15:clr>
        </p15:guide>
        <p15:guide id="28" orient="horz" userDrawn="1">
          <p15:clr>
            <a:srgbClr val="C4CECF"/>
          </p15:clr>
        </p15:guide>
        <p15:guide id="29" orient="horz" pos="4320" userDrawn="1">
          <p15:clr>
            <a:srgbClr val="C4CECF"/>
          </p15:clr>
        </p15:guide>
        <p15:guide id="30" orient="horz" pos="288" userDrawn="1">
          <p15:clr>
            <a:srgbClr val="F26B43"/>
          </p15:clr>
        </p15:guide>
        <p15:guide id="31" orient="horz" pos="2296" userDrawn="1">
          <p15:clr>
            <a:srgbClr val="C4CECF"/>
          </p15:clr>
        </p15:guide>
        <p15:guide id="32" orient="horz" pos="754" userDrawn="1">
          <p15:clr>
            <a:srgbClr val="F26B43"/>
          </p15:clr>
        </p15:guide>
        <p15:guide id="33" orient="horz" pos="3838" userDrawn="1">
          <p15:clr>
            <a:srgbClr val="F26B43"/>
          </p15:clr>
        </p15:guide>
        <p15:guide id="34" orient="horz" pos="504"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267.xml"/><Relationship Id="rId1" Type="http://schemas.openxmlformats.org/officeDocument/2006/relationships/tags" Target="../tags/tag266.xml"/><Relationship Id="rId6" Type="http://schemas.openxmlformats.org/officeDocument/2006/relationships/image" Target="../media/image1.emf"/><Relationship Id="rId5" Type="http://schemas.openxmlformats.org/officeDocument/2006/relationships/oleObject" Target="../embeddings/oleObject15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image" Target="../media/image1.emf"/><Relationship Id="rId5" Type="http://schemas.openxmlformats.org/officeDocument/2006/relationships/oleObject" Target="../embeddings/oleObject15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1.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image" Target="../media/image1.emf"/><Relationship Id="rId5" Type="http://schemas.openxmlformats.org/officeDocument/2006/relationships/oleObject" Target="../embeddings/oleObject155.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1.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C292DA-2AC3-3D10-B312-B97FD3AD2FE9}"/>
              </a:ext>
            </a:extLst>
          </p:cNvPr>
          <p:cNvGraphicFramePr>
            <a:graphicFrameLocks noChangeAspect="1"/>
          </p:cNvGraphicFramePr>
          <p:nvPr>
            <p:custDataLst>
              <p:tags r:id="rId2"/>
            </p:custDataLst>
            <p:extLst>
              <p:ext uri="{D42A27DB-BD31-4B8C-83A1-F6EECF244321}">
                <p14:modId xmlns:p14="http://schemas.microsoft.com/office/powerpoint/2010/main" val="145514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A5C292DA-2AC3-3D10-B312-B97FD3AD2F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CC8762-A882-2AFE-338A-C0C465C9F70B}"/>
              </a:ext>
            </a:extLst>
          </p:cNvPr>
          <p:cNvSpPr>
            <a:spLocks noGrp="1"/>
          </p:cNvSpPr>
          <p:nvPr>
            <p:ph type="ctrTitle"/>
          </p:nvPr>
        </p:nvSpPr>
        <p:spPr/>
        <p:txBody>
          <a:bodyPr/>
          <a:lstStyle/>
          <a:p>
            <a:r>
              <a:rPr lang="en-US" sz="2400" b="1" dirty="0">
                <a:solidFill>
                  <a:schemeClr val="tx2"/>
                </a:solidFill>
                <a:effectLst/>
              </a:rPr>
              <a:t>Global Partnership to Accelerate Finance for Clean Cooking</a:t>
            </a:r>
            <a:endParaRPr lang="en-US" sz="2400" dirty="0"/>
          </a:p>
        </p:txBody>
      </p:sp>
      <p:sp>
        <p:nvSpPr>
          <p:cNvPr id="3" name="Subtitle 2">
            <a:extLst>
              <a:ext uri="{FF2B5EF4-FFF2-40B4-BE49-F238E27FC236}">
                <a16:creationId xmlns:a16="http://schemas.microsoft.com/office/drawing/2014/main" id="{C4AD13DC-555B-65F3-A680-75AB5F3FD76D}"/>
              </a:ext>
            </a:extLst>
          </p:cNvPr>
          <p:cNvSpPr>
            <a:spLocks noGrp="1"/>
          </p:cNvSpPr>
          <p:nvPr>
            <p:ph type="subTitle" idx="1"/>
          </p:nvPr>
        </p:nvSpPr>
        <p:spPr/>
        <p:txBody>
          <a:bodyPr/>
          <a:lstStyle/>
          <a:p>
            <a:r>
              <a:rPr lang="en-US" dirty="0"/>
              <a:t>Team Name</a:t>
            </a:r>
          </a:p>
        </p:txBody>
      </p:sp>
      <p:sp>
        <p:nvSpPr>
          <p:cNvPr id="4" name="Text Placeholder 3">
            <a:extLst>
              <a:ext uri="{FF2B5EF4-FFF2-40B4-BE49-F238E27FC236}">
                <a16:creationId xmlns:a16="http://schemas.microsoft.com/office/drawing/2014/main" id="{01D5DE99-1AD8-E344-D1D2-435BC16D59D5}"/>
              </a:ext>
            </a:extLst>
          </p:cNvPr>
          <p:cNvSpPr>
            <a:spLocks noGrp="1"/>
          </p:cNvSpPr>
          <p:nvPr>
            <p:ph type="body" sz="quarter" idx="15"/>
          </p:nvPr>
        </p:nvSpPr>
        <p:spPr/>
        <p:txBody>
          <a:bodyPr/>
          <a:lstStyle/>
          <a:p>
            <a:r>
              <a:rPr lang="en-US" dirty="0"/>
              <a:t>Innovation Name</a:t>
            </a:r>
          </a:p>
        </p:txBody>
      </p:sp>
      <p:pic>
        <p:nvPicPr>
          <p:cNvPr id="13" name="Picture Placeholder 12" descr="A person and a child cooking&#10;&#10;Description automatically generated with low confidence">
            <a:extLst>
              <a:ext uri="{FF2B5EF4-FFF2-40B4-BE49-F238E27FC236}">
                <a16:creationId xmlns:a16="http://schemas.microsoft.com/office/drawing/2014/main" id="{95B14B24-47AD-440C-18B9-D04B00C72745}"/>
              </a:ext>
            </a:extLst>
          </p:cNvPr>
          <p:cNvPicPr>
            <a:picLocks noGrp="1" noChangeAspect="1"/>
          </p:cNvPicPr>
          <p:nvPr>
            <p:ph type="pic" sz="quarter" idx="16"/>
          </p:nvPr>
        </p:nvPicPr>
        <p:blipFill rotWithShape="1">
          <a:blip r:embed="rId7">
            <a:extLst>
              <a:ext uri="{28A0092B-C50C-407E-A947-70E740481C1C}">
                <a14:useLocalDpi xmlns:a14="http://schemas.microsoft.com/office/drawing/2010/main" val="0"/>
              </a:ext>
            </a:extLst>
          </a:blip>
          <a:srcRect l="1718" r="1718"/>
          <a:stretch/>
        </p:blipFill>
        <p:spPr/>
      </p:pic>
      <p:sp>
        <p:nvSpPr>
          <p:cNvPr id="6" name="Footer Placeholder 5">
            <a:extLst>
              <a:ext uri="{FF2B5EF4-FFF2-40B4-BE49-F238E27FC236}">
                <a16:creationId xmlns:a16="http://schemas.microsoft.com/office/drawing/2014/main" id="{BD12CFD4-0601-DE49-DDE5-167500DAE509}"/>
              </a:ext>
            </a:extLst>
          </p:cNvPr>
          <p:cNvSpPr>
            <a:spLocks noGrp="1"/>
          </p:cNvSpPr>
          <p:nvPr>
            <p:ph type="ftr" sz="quarter" idx="18"/>
          </p:nvPr>
        </p:nvSpPr>
        <p:spPr>
          <a:xfrm>
            <a:off x="467755" y="4224842"/>
            <a:ext cx="7518400" cy="490253"/>
          </a:xfrm>
        </p:spPr>
        <p:txBody>
          <a:bodyPr/>
          <a:lstStyle/>
          <a:p>
            <a:r>
              <a:rPr lang="en-US" sz="1800" dirty="0"/>
              <a:t>Contact details of lead applicant</a:t>
            </a:r>
          </a:p>
        </p:txBody>
      </p:sp>
      <p:sp>
        <p:nvSpPr>
          <p:cNvPr id="7" name="Slide Number Placeholder 6">
            <a:extLst>
              <a:ext uri="{FF2B5EF4-FFF2-40B4-BE49-F238E27FC236}">
                <a16:creationId xmlns:a16="http://schemas.microsoft.com/office/drawing/2014/main" id="{C8B20E27-43A5-2C53-F936-CAE0ADEBC1EE}"/>
              </a:ext>
            </a:extLst>
          </p:cNvPr>
          <p:cNvSpPr>
            <a:spLocks noGrp="1"/>
          </p:cNvSpPr>
          <p:nvPr>
            <p:ph type="sldNum" sz="quarter" idx="19"/>
          </p:nvPr>
        </p:nvSpPr>
        <p:spPr/>
        <p:txBody>
          <a:bodyPr/>
          <a:lstStyle/>
          <a:p>
            <a:fld id="{F93F11C7-B87C-4933-9AFD-08422E5A18E7}" type="slidenum">
              <a:rPr lang="en-US" smtClean="0"/>
              <a:pPr/>
              <a:t>1</a:t>
            </a:fld>
            <a:endParaRPr lang="en-US"/>
          </a:p>
        </p:txBody>
      </p:sp>
    </p:spTree>
    <p:custDataLst>
      <p:tags r:id="rId1"/>
    </p:custDataLst>
    <p:extLst>
      <p:ext uri="{BB962C8B-B14F-4D97-AF65-F5344CB8AC3E}">
        <p14:creationId xmlns:p14="http://schemas.microsoft.com/office/powerpoint/2010/main" val="311071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a:t>ix. Achievements post Bootcamp and Accelerator stages</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10</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107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a:t>x. Technical Assistance requirement</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11</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3769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D28778D0-8F9E-12D9-849C-BC7BA4B7CC28}"/>
              </a:ext>
            </a:extLst>
          </p:cNvPr>
          <p:cNvSpPr>
            <a:spLocks noGrp="1"/>
          </p:cNvSpPr>
          <p:nvPr>
            <p:ph type="sldNum" sz="quarter" idx="12"/>
          </p:nvPr>
        </p:nvSpPr>
        <p:spPr/>
        <p:txBody>
          <a:bodyPr/>
          <a:lstStyle/>
          <a:p>
            <a:fld id="{F93F11C7-B87C-4933-9AFD-08422E5A18E7}" type="slidenum">
              <a:rPr lang="en-US" smtClean="0"/>
              <a:pPr/>
              <a:t>12</a:t>
            </a:fld>
            <a:endParaRPr lang="en-US"/>
          </a:p>
        </p:txBody>
      </p:sp>
      <p:sp>
        <p:nvSpPr>
          <p:cNvPr id="8" name="Title 7">
            <a:extLst>
              <a:ext uri="{FF2B5EF4-FFF2-40B4-BE49-F238E27FC236}">
                <a16:creationId xmlns:a16="http://schemas.microsoft.com/office/drawing/2014/main" id="{722F7711-A5F0-5A73-B282-B1137C0547C7}"/>
              </a:ext>
            </a:extLst>
          </p:cNvPr>
          <p:cNvSpPr>
            <a:spLocks noGrp="1"/>
          </p:cNvSpPr>
          <p:nvPr>
            <p:ph type="title"/>
          </p:nvPr>
        </p:nvSpPr>
        <p:spPr/>
        <p:txBody>
          <a:bodyPr/>
          <a:lstStyle/>
          <a:p>
            <a:r>
              <a:rPr lang="en-US" dirty="0"/>
              <a:t>xi. Free slide</a:t>
            </a:r>
          </a:p>
        </p:txBody>
      </p:sp>
      <p:pic>
        <p:nvPicPr>
          <p:cNvPr id="13" name="Picture 12" descr="Guidelines - Branding and Identity">
            <a:extLst>
              <a:ext uri="{FF2B5EF4-FFF2-40B4-BE49-F238E27FC236}">
                <a16:creationId xmlns:a16="http://schemas.microsoft.com/office/drawing/2014/main" id="{6DE65896-7406-79DA-2808-17EC875D296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199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D28778D0-8F9E-12D9-849C-BC7BA4B7CC28}"/>
              </a:ext>
            </a:extLst>
          </p:cNvPr>
          <p:cNvSpPr>
            <a:spLocks noGrp="1"/>
          </p:cNvSpPr>
          <p:nvPr>
            <p:ph type="sldNum" sz="quarter" idx="12"/>
          </p:nvPr>
        </p:nvSpPr>
        <p:spPr/>
        <p:txBody>
          <a:bodyPr/>
          <a:lstStyle/>
          <a:p>
            <a:fld id="{F93F11C7-B87C-4933-9AFD-08422E5A18E7}" type="slidenum">
              <a:rPr lang="en-US" smtClean="0"/>
              <a:pPr/>
              <a:t>13</a:t>
            </a:fld>
            <a:endParaRPr lang="en-US"/>
          </a:p>
        </p:txBody>
      </p:sp>
      <p:sp>
        <p:nvSpPr>
          <p:cNvPr id="8" name="Title 7">
            <a:extLst>
              <a:ext uri="{FF2B5EF4-FFF2-40B4-BE49-F238E27FC236}">
                <a16:creationId xmlns:a16="http://schemas.microsoft.com/office/drawing/2014/main" id="{722F7711-A5F0-5A73-B282-B1137C0547C7}"/>
              </a:ext>
            </a:extLst>
          </p:cNvPr>
          <p:cNvSpPr>
            <a:spLocks noGrp="1"/>
          </p:cNvSpPr>
          <p:nvPr>
            <p:ph type="title"/>
          </p:nvPr>
        </p:nvSpPr>
        <p:spPr/>
        <p:txBody>
          <a:bodyPr/>
          <a:lstStyle/>
          <a:p>
            <a:r>
              <a:rPr lang="en-US" dirty="0"/>
              <a:t>xii. Free slide</a:t>
            </a:r>
          </a:p>
        </p:txBody>
      </p:sp>
      <p:pic>
        <p:nvPicPr>
          <p:cNvPr id="2" name="Picture 1" descr="Guidelines - Branding and Identity">
            <a:extLst>
              <a:ext uri="{FF2B5EF4-FFF2-40B4-BE49-F238E27FC236}">
                <a16:creationId xmlns:a16="http://schemas.microsoft.com/office/drawing/2014/main" id="{A4073D50-0D3E-E387-E08C-695D48AAE4F5}"/>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407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err="1"/>
              <a:t>i</a:t>
            </a:r>
            <a:r>
              <a:rPr lang="en-US" dirty="0"/>
              <a:t>. Executive Summary</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2</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14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E96DF89-EBFF-CA4F-35BD-7DD0CAD9E534}"/>
              </a:ext>
            </a:extLst>
          </p:cNvPr>
          <p:cNvGraphicFramePr>
            <a:graphicFrameLocks noChangeAspect="1"/>
          </p:cNvGraphicFramePr>
          <p:nvPr>
            <p:custDataLst>
              <p:tags r:id="rId2"/>
            </p:custDataLst>
            <p:extLst>
              <p:ext uri="{D42A27DB-BD31-4B8C-83A1-F6EECF244321}">
                <p14:modId xmlns:p14="http://schemas.microsoft.com/office/powerpoint/2010/main" val="1352695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6" name="Object 15" hidden="1">
                        <a:extLst>
                          <a:ext uri="{FF2B5EF4-FFF2-40B4-BE49-F238E27FC236}">
                            <a16:creationId xmlns:a16="http://schemas.microsoft.com/office/drawing/2014/main" id="{0E96DF89-EBFF-CA4F-35BD-7DD0CAD9E5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27">
            <a:extLst>
              <a:ext uri="{FF2B5EF4-FFF2-40B4-BE49-F238E27FC236}">
                <a16:creationId xmlns:a16="http://schemas.microsoft.com/office/drawing/2014/main" id="{DFA48E80-096D-9B97-74B4-9DE4C2793FC8}"/>
              </a:ext>
            </a:extLst>
          </p:cNvPr>
          <p:cNvSpPr>
            <a:spLocks noGrp="1"/>
          </p:cNvSpPr>
          <p:nvPr>
            <p:ph sz="half" idx="2"/>
          </p:nvPr>
        </p:nvSpPr>
        <p:spPr>
          <a:xfrm>
            <a:off x="484895" y="1868991"/>
            <a:ext cx="5404628" cy="4223544"/>
          </a:xfrm>
        </p:spPr>
        <p:txBody>
          <a:bodyPr/>
          <a:lstStyle/>
          <a:p>
            <a:endParaRPr lang="en-US" dirty="0"/>
          </a:p>
        </p:txBody>
      </p:sp>
      <p:sp>
        <p:nvSpPr>
          <p:cNvPr id="30" name="Content Placeholder 29">
            <a:extLst>
              <a:ext uri="{FF2B5EF4-FFF2-40B4-BE49-F238E27FC236}">
                <a16:creationId xmlns:a16="http://schemas.microsoft.com/office/drawing/2014/main" id="{4638F754-DB4C-F57F-A7E0-08B0255CA3A1}"/>
              </a:ext>
            </a:extLst>
          </p:cNvPr>
          <p:cNvSpPr>
            <a:spLocks noGrp="1"/>
          </p:cNvSpPr>
          <p:nvPr>
            <p:ph sz="quarter" idx="4"/>
          </p:nvPr>
        </p:nvSpPr>
        <p:spPr>
          <a:xfrm>
            <a:off x="6302479" y="1868991"/>
            <a:ext cx="5409452" cy="4223834"/>
          </a:xfrm>
        </p:spPr>
        <p:txBody>
          <a:bodyPr/>
          <a:lstStyle/>
          <a:p>
            <a:endParaRPr lang="en-US" dirty="0"/>
          </a:p>
        </p:txBody>
      </p:sp>
      <p:sp>
        <p:nvSpPr>
          <p:cNvPr id="9" name="Slide Number Placeholder 8">
            <a:extLst>
              <a:ext uri="{FF2B5EF4-FFF2-40B4-BE49-F238E27FC236}">
                <a16:creationId xmlns:a16="http://schemas.microsoft.com/office/drawing/2014/main" id="{DD895508-39FE-6CC7-DF54-35D0407FDD49}"/>
              </a:ext>
            </a:extLst>
          </p:cNvPr>
          <p:cNvSpPr>
            <a:spLocks noGrp="1"/>
          </p:cNvSpPr>
          <p:nvPr>
            <p:ph type="sldNum" sz="quarter" idx="12"/>
          </p:nvPr>
        </p:nvSpPr>
        <p:spPr/>
        <p:txBody>
          <a:bodyPr/>
          <a:lstStyle/>
          <a:p>
            <a:fld id="{F93F11C7-B87C-4933-9AFD-08422E5A18E7}" type="slidenum">
              <a:rPr lang="en-US" smtClean="0"/>
              <a:pPr/>
              <a:t>3</a:t>
            </a:fld>
            <a:endParaRPr lang="en-US"/>
          </a:p>
        </p:txBody>
      </p:sp>
      <p:sp>
        <p:nvSpPr>
          <p:cNvPr id="26" name="Title 25">
            <a:extLst>
              <a:ext uri="{FF2B5EF4-FFF2-40B4-BE49-F238E27FC236}">
                <a16:creationId xmlns:a16="http://schemas.microsoft.com/office/drawing/2014/main" id="{94BFB233-598B-BC0E-D674-910EA0551218}"/>
              </a:ext>
            </a:extLst>
          </p:cNvPr>
          <p:cNvSpPr>
            <a:spLocks noGrp="1"/>
          </p:cNvSpPr>
          <p:nvPr>
            <p:ph type="title"/>
          </p:nvPr>
        </p:nvSpPr>
        <p:spPr/>
        <p:txBody>
          <a:bodyPr/>
          <a:lstStyle/>
          <a:p>
            <a:r>
              <a:rPr lang="en-US" dirty="0"/>
              <a:t>ii. Problem Statement and Market Needs linked to clean cooking</a:t>
            </a:r>
          </a:p>
        </p:txBody>
      </p:sp>
      <p:sp>
        <p:nvSpPr>
          <p:cNvPr id="27" name="Text Placeholder 26">
            <a:extLst>
              <a:ext uri="{FF2B5EF4-FFF2-40B4-BE49-F238E27FC236}">
                <a16:creationId xmlns:a16="http://schemas.microsoft.com/office/drawing/2014/main" id="{4706A2A2-BA33-340D-638A-78770E1BACEF}"/>
              </a:ext>
            </a:extLst>
          </p:cNvPr>
          <p:cNvSpPr>
            <a:spLocks noGrp="1"/>
          </p:cNvSpPr>
          <p:nvPr>
            <p:ph type="body" idx="1"/>
          </p:nvPr>
        </p:nvSpPr>
        <p:spPr>
          <a:xfrm>
            <a:off x="484895" y="1211151"/>
            <a:ext cx="5404628" cy="657840"/>
          </a:xfrm>
        </p:spPr>
        <p:txBody>
          <a:bodyPr/>
          <a:lstStyle/>
          <a:p>
            <a:endParaRPr lang="en-US" dirty="0"/>
          </a:p>
        </p:txBody>
      </p:sp>
      <p:sp>
        <p:nvSpPr>
          <p:cNvPr id="29" name="Text Placeholder 28">
            <a:extLst>
              <a:ext uri="{FF2B5EF4-FFF2-40B4-BE49-F238E27FC236}">
                <a16:creationId xmlns:a16="http://schemas.microsoft.com/office/drawing/2014/main" id="{19959930-95EB-8CB4-09B7-59472685A3AC}"/>
              </a:ext>
            </a:extLst>
          </p:cNvPr>
          <p:cNvSpPr>
            <a:spLocks noGrp="1"/>
          </p:cNvSpPr>
          <p:nvPr>
            <p:ph type="body" sz="quarter" idx="3"/>
          </p:nvPr>
        </p:nvSpPr>
        <p:spPr>
          <a:xfrm>
            <a:off x="6302479" y="1200533"/>
            <a:ext cx="5409452" cy="668458"/>
          </a:xfrm>
        </p:spPr>
        <p:txBody>
          <a:bodyPr/>
          <a:lstStyle/>
          <a:p>
            <a:endParaRPr lang="en-US" dirty="0"/>
          </a:p>
        </p:txBody>
      </p:sp>
      <p:pic>
        <p:nvPicPr>
          <p:cNvPr id="2" name="Picture 1" descr="Guidelines - Branding and Identity">
            <a:extLst>
              <a:ext uri="{FF2B5EF4-FFF2-40B4-BE49-F238E27FC236}">
                <a16:creationId xmlns:a16="http://schemas.microsoft.com/office/drawing/2014/main" id="{B1A5AFAD-8C5E-437F-26E4-C36492B0644D}"/>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9125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a:t>iii. Proposed Solution and Any Traction</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4</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24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a:t>iv. Milestones going forward (including indicative KPIs)</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5</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898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3C7DF-561E-6ED5-CF0F-658E96EDA6A7}"/>
              </a:ext>
            </a:extLst>
          </p:cNvPr>
          <p:cNvSpPr>
            <a:spLocks noGrp="1"/>
          </p:cNvSpPr>
          <p:nvPr>
            <p:ph type="title"/>
          </p:nvPr>
        </p:nvSpPr>
        <p:spPr/>
        <p:txBody>
          <a:bodyPr/>
          <a:lstStyle/>
          <a:p>
            <a:r>
              <a:rPr lang="en-GB" dirty="0"/>
              <a:t>v. </a:t>
            </a:r>
            <a:r>
              <a:rPr lang="en-US" dirty="0"/>
              <a:t>Team incl. partnership arrangement </a:t>
            </a:r>
            <a:br>
              <a:rPr lang="en-US" dirty="0"/>
            </a:br>
            <a:r>
              <a:rPr lang="en-US" sz="1800" dirty="0"/>
              <a:t>(those directly involved in solution who may participate in bootcamp</a:t>
            </a:r>
            <a:r>
              <a:rPr lang="en-GB" sz="1800" dirty="0"/>
              <a:t>)</a:t>
            </a:r>
            <a:endParaRPr lang="en-GB" dirty="0"/>
          </a:p>
        </p:txBody>
      </p:sp>
      <p:sp>
        <p:nvSpPr>
          <p:cNvPr id="3" name="Footer Placeholder 2">
            <a:extLst>
              <a:ext uri="{FF2B5EF4-FFF2-40B4-BE49-F238E27FC236}">
                <a16:creationId xmlns:a16="http://schemas.microsoft.com/office/drawing/2014/main" id="{E42E84CF-7C28-69CC-2C99-7A6984CD1F4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28A308-7809-47E7-5E78-2CE1A082A585}"/>
              </a:ext>
            </a:extLst>
          </p:cNvPr>
          <p:cNvSpPr>
            <a:spLocks noGrp="1"/>
          </p:cNvSpPr>
          <p:nvPr>
            <p:ph type="sldNum" sz="quarter" idx="12"/>
          </p:nvPr>
        </p:nvSpPr>
        <p:spPr/>
        <p:txBody>
          <a:bodyPr/>
          <a:lstStyle/>
          <a:p>
            <a:fld id="{F93F11C7-B87C-4933-9AFD-08422E5A18E7}" type="slidenum">
              <a:rPr lang="en-US" smtClean="0"/>
              <a:t>6</a:t>
            </a:fld>
            <a:endParaRPr lang="en-US"/>
          </a:p>
        </p:txBody>
      </p:sp>
      <p:sp>
        <p:nvSpPr>
          <p:cNvPr id="5" name="Text Placeholder 4">
            <a:extLst>
              <a:ext uri="{FF2B5EF4-FFF2-40B4-BE49-F238E27FC236}">
                <a16:creationId xmlns:a16="http://schemas.microsoft.com/office/drawing/2014/main" id="{B7E808A9-36D1-951A-7B51-0C733F4E21E9}"/>
              </a:ext>
            </a:extLst>
          </p:cNvPr>
          <p:cNvSpPr>
            <a:spLocks noGrp="1"/>
          </p:cNvSpPr>
          <p:nvPr>
            <p:ph type="body" sz="quarter" idx="14"/>
          </p:nvPr>
        </p:nvSpPr>
        <p:spPr/>
        <p:txBody>
          <a:bodyPr/>
          <a:lstStyle/>
          <a:p>
            <a:r>
              <a:rPr lang="en-US" dirty="0"/>
              <a:t>Name, Designation, Partnership aspects, Role in the project, Duration of involvement</a:t>
            </a:r>
            <a:endParaRPr lang="en-GB" dirty="0"/>
          </a:p>
        </p:txBody>
      </p:sp>
      <p:sp>
        <p:nvSpPr>
          <p:cNvPr id="6" name="Text Placeholder 5">
            <a:extLst>
              <a:ext uri="{FF2B5EF4-FFF2-40B4-BE49-F238E27FC236}">
                <a16:creationId xmlns:a16="http://schemas.microsoft.com/office/drawing/2014/main" id="{0D0B2CF7-8FEB-06A4-60B6-1C116ACA575C}"/>
              </a:ext>
            </a:extLst>
          </p:cNvPr>
          <p:cNvSpPr>
            <a:spLocks noGrp="1"/>
          </p:cNvSpPr>
          <p:nvPr>
            <p:ph type="body" sz="quarter" idx="15"/>
          </p:nvPr>
        </p:nvSpPr>
        <p:spPr/>
        <p:txBody>
          <a:bodyPr/>
          <a:lstStyle/>
          <a:p>
            <a:endParaRPr lang="en-GB"/>
          </a:p>
        </p:txBody>
      </p:sp>
      <p:sp>
        <p:nvSpPr>
          <p:cNvPr id="7" name="Text Placeholder 6">
            <a:extLst>
              <a:ext uri="{FF2B5EF4-FFF2-40B4-BE49-F238E27FC236}">
                <a16:creationId xmlns:a16="http://schemas.microsoft.com/office/drawing/2014/main" id="{01769137-750D-7B28-BC81-6CD194874E24}"/>
              </a:ext>
            </a:extLst>
          </p:cNvPr>
          <p:cNvSpPr>
            <a:spLocks noGrp="1"/>
          </p:cNvSpPr>
          <p:nvPr>
            <p:ph type="body" sz="quarter" idx="16"/>
          </p:nvPr>
        </p:nvSpPr>
        <p:spPr/>
        <p:txBody>
          <a:bodyPr/>
          <a:lstStyle/>
          <a:p>
            <a:endParaRPr lang="en-GB"/>
          </a:p>
        </p:txBody>
      </p:sp>
      <p:sp>
        <p:nvSpPr>
          <p:cNvPr id="8" name="Text Placeholder 7">
            <a:extLst>
              <a:ext uri="{FF2B5EF4-FFF2-40B4-BE49-F238E27FC236}">
                <a16:creationId xmlns:a16="http://schemas.microsoft.com/office/drawing/2014/main" id="{2CAA0358-139A-35D4-82AA-D40E9111F935}"/>
              </a:ext>
            </a:extLst>
          </p:cNvPr>
          <p:cNvSpPr>
            <a:spLocks noGrp="1"/>
          </p:cNvSpPr>
          <p:nvPr>
            <p:ph type="body" sz="quarter" idx="17"/>
          </p:nvPr>
        </p:nvSpPr>
        <p:spPr/>
        <p:txBody>
          <a:bodyPr/>
          <a:lstStyle/>
          <a:p>
            <a:endParaRPr lang="en-GB"/>
          </a:p>
        </p:txBody>
      </p:sp>
      <p:sp>
        <p:nvSpPr>
          <p:cNvPr id="9" name="Text Placeholder 8">
            <a:extLst>
              <a:ext uri="{FF2B5EF4-FFF2-40B4-BE49-F238E27FC236}">
                <a16:creationId xmlns:a16="http://schemas.microsoft.com/office/drawing/2014/main" id="{B9C1D449-0277-B1F9-2C4D-462088E6213A}"/>
              </a:ext>
            </a:extLst>
          </p:cNvPr>
          <p:cNvSpPr>
            <a:spLocks noGrp="1"/>
          </p:cNvSpPr>
          <p:nvPr>
            <p:ph type="body" sz="quarter" idx="18"/>
          </p:nvPr>
        </p:nvSpPr>
        <p:spPr/>
        <p:txBody>
          <a:bodyPr/>
          <a:lstStyle/>
          <a:p>
            <a:endParaRPr lang="en-GB"/>
          </a:p>
        </p:txBody>
      </p:sp>
      <p:sp>
        <p:nvSpPr>
          <p:cNvPr id="10" name="Text Placeholder 9">
            <a:extLst>
              <a:ext uri="{FF2B5EF4-FFF2-40B4-BE49-F238E27FC236}">
                <a16:creationId xmlns:a16="http://schemas.microsoft.com/office/drawing/2014/main" id="{8F630060-8D36-702B-B4D5-B0C16C11E6FD}"/>
              </a:ext>
            </a:extLst>
          </p:cNvPr>
          <p:cNvSpPr>
            <a:spLocks noGrp="1"/>
          </p:cNvSpPr>
          <p:nvPr>
            <p:ph type="body" sz="quarter" idx="19"/>
          </p:nvPr>
        </p:nvSpPr>
        <p:spPr/>
        <p:txBody>
          <a:bodyPr/>
          <a:lstStyle/>
          <a:p>
            <a:endParaRPr lang="en-GB"/>
          </a:p>
        </p:txBody>
      </p:sp>
      <p:sp>
        <p:nvSpPr>
          <p:cNvPr id="11" name="Text Placeholder 10">
            <a:extLst>
              <a:ext uri="{FF2B5EF4-FFF2-40B4-BE49-F238E27FC236}">
                <a16:creationId xmlns:a16="http://schemas.microsoft.com/office/drawing/2014/main" id="{279FEA21-6437-462F-4890-2F259CF23132}"/>
              </a:ext>
            </a:extLst>
          </p:cNvPr>
          <p:cNvSpPr>
            <a:spLocks noGrp="1"/>
          </p:cNvSpPr>
          <p:nvPr>
            <p:ph type="body" sz="quarter" idx="20"/>
          </p:nvPr>
        </p:nvSpPr>
        <p:spPr/>
        <p:txBody>
          <a:bodyPr/>
          <a:lstStyle/>
          <a:p>
            <a:endParaRPr lang="en-GB"/>
          </a:p>
        </p:txBody>
      </p:sp>
      <p:sp>
        <p:nvSpPr>
          <p:cNvPr id="12" name="Text Placeholder 11">
            <a:extLst>
              <a:ext uri="{FF2B5EF4-FFF2-40B4-BE49-F238E27FC236}">
                <a16:creationId xmlns:a16="http://schemas.microsoft.com/office/drawing/2014/main" id="{5D2841E8-5C71-ECCE-F5CA-4CDA88F02358}"/>
              </a:ext>
            </a:extLst>
          </p:cNvPr>
          <p:cNvSpPr>
            <a:spLocks noGrp="1"/>
          </p:cNvSpPr>
          <p:nvPr>
            <p:ph type="body" sz="quarter" idx="21"/>
          </p:nvPr>
        </p:nvSpPr>
        <p:spPr/>
        <p:txBody>
          <a:bodyPr/>
          <a:lstStyle/>
          <a:p>
            <a:endParaRPr lang="en-GB"/>
          </a:p>
        </p:txBody>
      </p:sp>
      <p:sp>
        <p:nvSpPr>
          <p:cNvPr id="13" name="Text Placeholder 12">
            <a:extLst>
              <a:ext uri="{FF2B5EF4-FFF2-40B4-BE49-F238E27FC236}">
                <a16:creationId xmlns:a16="http://schemas.microsoft.com/office/drawing/2014/main" id="{0AE31BA9-05DC-EBF6-EAE2-3A31DF883297}"/>
              </a:ext>
            </a:extLst>
          </p:cNvPr>
          <p:cNvSpPr>
            <a:spLocks noGrp="1"/>
          </p:cNvSpPr>
          <p:nvPr>
            <p:ph type="body" sz="quarter" idx="22"/>
          </p:nvPr>
        </p:nvSpPr>
        <p:spPr/>
        <p:txBody>
          <a:bodyPr/>
          <a:lstStyle/>
          <a:p>
            <a:endParaRPr lang="en-GB"/>
          </a:p>
        </p:txBody>
      </p:sp>
      <p:sp>
        <p:nvSpPr>
          <p:cNvPr id="14" name="Text Placeholder 13">
            <a:extLst>
              <a:ext uri="{FF2B5EF4-FFF2-40B4-BE49-F238E27FC236}">
                <a16:creationId xmlns:a16="http://schemas.microsoft.com/office/drawing/2014/main" id="{9EAD8845-53E2-ADAD-1A2F-AC95CB80F746}"/>
              </a:ext>
            </a:extLst>
          </p:cNvPr>
          <p:cNvSpPr>
            <a:spLocks noGrp="1"/>
          </p:cNvSpPr>
          <p:nvPr>
            <p:ph type="body" sz="quarter" idx="23"/>
          </p:nvPr>
        </p:nvSpPr>
        <p:spPr/>
        <p:txBody>
          <a:bodyPr/>
          <a:lstStyle/>
          <a:p>
            <a:endParaRPr lang="en-GB"/>
          </a:p>
        </p:txBody>
      </p:sp>
      <p:sp>
        <p:nvSpPr>
          <p:cNvPr id="15" name="Text Placeholder 14">
            <a:extLst>
              <a:ext uri="{FF2B5EF4-FFF2-40B4-BE49-F238E27FC236}">
                <a16:creationId xmlns:a16="http://schemas.microsoft.com/office/drawing/2014/main" id="{6DA06C5D-6582-574F-7FD4-F89361A7C813}"/>
              </a:ext>
            </a:extLst>
          </p:cNvPr>
          <p:cNvSpPr>
            <a:spLocks noGrp="1"/>
          </p:cNvSpPr>
          <p:nvPr>
            <p:ph type="body" sz="quarter" idx="24"/>
          </p:nvPr>
        </p:nvSpPr>
        <p:spPr/>
        <p:txBody>
          <a:bodyPr/>
          <a:lstStyle/>
          <a:p>
            <a:endParaRPr lang="en-GB"/>
          </a:p>
        </p:txBody>
      </p:sp>
      <p:sp>
        <p:nvSpPr>
          <p:cNvPr id="16" name="Text Placeholder 15">
            <a:extLst>
              <a:ext uri="{FF2B5EF4-FFF2-40B4-BE49-F238E27FC236}">
                <a16:creationId xmlns:a16="http://schemas.microsoft.com/office/drawing/2014/main" id="{4ABEDC58-6638-F1E5-555B-F04418B75E59}"/>
              </a:ext>
            </a:extLst>
          </p:cNvPr>
          <p:cNvSpPr>
            <a:spLocks noGrp="1"/>
          </p:cNvSpPr>
          <p:nvPr>
            <p:ph type="body" sz="quarter" idx="25"/>
          </p:nvPr>
        </p:nvSpPr>
        <p:spPr/>
        <p:txBody>
          <a:bodyPr/>
          <a:lstStyle/>
          <a:p>
            <a:endParaRPr lang="en-GB"/>
          </a:p>
        </p:txBody>
      </p:sp>
      <p:sp>
        <p:nvSpPr>
          <p:cNvPr id="17" name="Text Placeholder 16">
            <a:extLst>
              <a:ext uri="{FF2B5EF4-FFF2-40B4-BE49-F238E27FC236}">
                <a16:creationId xmlns:a16="http://schemas.microsoft.com/office/drawing/2014/main" id="{D0EEBE84-D800-2973-8A7F-8774C3F092EB}"/>
              </a:ext>
            </a:extLst>
          </p:cNvPr>
          <p:cNvSpPr>
            <a:spLocks noGrp="1"/>
          </p:cNvSpPr>
          <p:nvPr>
            <p:ph type="body" sz="quarter" idx="26"/>
          </p:nvPr>
        </p:nvSpPr>
        <p:spPr/>
        <p:txBody>
          <a:bodyPr/>
          <a:lstStyle/>
          <a:p>
            <a:endParaRPr lang="en-GB"/>
          </a:p>
        </p:txBody>
      </p:sp>
      <p:sp>
        <p:nvSpPr>
          <p:cNvPr id="18" name="Text Placeholder 17">
            <a:extLst>
              <a:ext uri="{FF2B5EF4-FFF2-40B4-BE49-F238E27FC236}">
                <a16:creationId xmlns:a16="http://schemas.microsoft.com/office/drawing/2014/main" id="{2161DB76-68FA-28D7-5E37-EA3F1E80F5BD}"/>
              </a:ext>
            </a:extLst>
          </p:cNvPr>
          <p:cNvSpPr>
            <a:spLocks noGrp="1"/>
          </p:cNvSpPr>
          <p:nvPr>
            <p:ph type="body" sz="quarter" idx="27"/>
          </p:nvPr>
        </p:nvSpPr>
        <p:spPr/>
        <p:txBody>
          <a:bodyPr/>
          <a:lstStyle/>
          <a:p>
            <a:endParaRPr lang="en-GB"/>
          </a:p>
        </p:txBody>
      </p:sp>
      <p:sp>
        <p:nvSpPr>
          <p:cNvPr id="19" name="Text Placeholder 18">
            <a:extLst>
              <a:ext uri="{FF2B5EF4-FFF2-40B4-BE49-F238E27FC236}">
                <a16:creationId xmlns:a16="http://schemas.microsoft.com/office/drawing/2014/main" id="{93D18365-F7BA-366E-8E64-6EEA23C09621}"/>
              </a:ext>
            </a:extLst>
          </p:cNvPr>
          <p:cNvSpPr>
            <a:spLocks noGrp="1"/>
          </p:cNvSpPr>
          <p:nvPr>
            <p:ph type="body" sz="quarter" idx="28"/>
          </p:nvPr>
        </p:nvSpPr>
        <p:spPr/>
        <p:txBody>
          <a:bodyPr/>
          <a:lstStyle/>
          <a:p>
            <a:endParaRPr lang="en-GB"/>
          </a:p>
        </p:txBody>
      </p:sp>
      <p:sp>
        <p:nvSpPr>
          <p:cNvPr id="20" name="Text Placeholder 19">
            <a:extLst>
              <a:ext uri="{FF2B5EF4-FFF2-40B4-BE49-F238E27FC236}">
                <a16:creationId xmlns:a16="http://schemas.microsoft.com/office/drawing/2014/main" id="{3605EE24-03F4-19A0-21D9-E341B31F808E}"/>
              </a:ext>
            </a:extLst>
          </p:cNvPr>
          <p:cNvSpPr>
            <a:spLocks noGrp="1"/>
          </p:cNvSpPr>
          <p:nvPr>
            <p:ph type="body" sz="quarter" idx="29"/>
          </p:nvPr>
        </p:nvSpPr>
        <p:spPr/>
        <p:txBody>
          <a:bodyPr/>
          <a:lstStyle/>
          <a:p>
            <a:endParaRPr lang="en-GB"/>
          </a:p>
        </p:txBody>
      </p:sp>
      <p:sp>
        <p:nvSpPr>
          <p:cNvPr id="21" name="Text Placeholder 20">
            <a:extLst>
              <a:ext uri="{FF2B5EF4-FFF2-40B4-BE49-F238E27FC236}">
                <a16:creationId xmlns:a16="http://schemas.microsoft.com/office/drawing/2014/main" id="{032BC3E0-DA41-AA3C-E131-03669F064144}"/>
              </a:ext>
            </a:extLst>
          </p:cNvPr>
          <p:cNvSpPr>
            <a:spLocks noGrp="1"/>
          </p:cNvSpPr>
          <p:nvPr>
            <p:ph type="body" sz="quarter" idx="30"/>
          </p:nvPr>
        </p:nvSpPr>
        <p:spPr/>
        <p:txBody>
          <a:bodyPr/>
          <a:lstStyle/>
          <a:p>
            <a:endParaRPr lang="en-GB"/>
          </a:p>
        </p:txBody>
      </p:sp>
      <p:sp>
        <p:nvSpPr>
          <p:cNvPr id="22" name="Text Placeholder 21">
            <a:extLst>
              <a:ext uri="{FF2B5EF4-FFF2-40B4-BE49-F238E27FC236}">
                <a16:creationId xmlns:a16="http://schemas.microsoft.com/office/drawing/2014/main" id="{76040D4E-AE36-3902-2FFD-E5261D436629}"/>
              </a:ext>
            </a:extLst>
          </p:cNvPr>
          <p:cNvSpPr>
            <a:spLocks noGrp="1"/>
          </p:cNvSpPr>
          <p:nvPr>
            <p:ph type="body" sz="quarter" idx="31"/>
          </p:nvPr>
        </p:nvSpPr>
        <p:spPr/>
        <p:txBody>
          <a:bodyPr/>
          <a:lstStyle/>
          <a:p>
            <a:endParaRPr lang="en-GB"/>
          </a:p>
        </p:txBody>
      </p:sp>
      <p:sp>
        <p:nvSpPr>
          <p:cNvPr id="23" name="Text Placeholder 22">
            <a:extLst>
              <a:ext uri="{FF2B5EF4-FFF2-40B4-BE49-F238E27FC236}">
                <a16:creationId xmlns:a16="http://schemas.microsoft.com/office/drawing/2014/main" id="{889C2D88-9CC0-266D-0EC7-701B3F0A13C3}"/>
              </a:ext>
            </a:extLst>
          </p:cNvPr>
          <p:cNvSpPr>
            <a:spLocks noGrp="1"/>
          </p:cNvSpPr>
          <p:nvPr>
            <p:ph type="body" sz="quarter" idx="32"/>
          </p:nvPr>
        </p:nvSpPr>
        <p:spPr/>
        <p:txBody>
          <a:bodyPr/>
          <a:lstStyle/>
          <a:p>
            <a:endParaRPr lang="en-GB"/>
          </a:p>
        </p:txBody>
      </p:sp>
      <p:sp>
        <p:nvSpPr>
          <p:cNvPr id="24" name="Text Placeholder 23">
            <a:extLst>
              <a:ext uri="{FF2B5EF4-FFF2-40B4-BE49-F238E27FC236}">
                <a16:creationId xmlns:a16="http://schemas.microsoft.com/office/drawing/2014/main" id="{30E962BF-96B0-C570-F47D-0F859D291BD5}"/>
              </a:ext>
            </a:extLst>
          </p:cNvPr>
          <p:cNvSpPr>
            <a:spLocks noGrp="1"/>
          </p:cNvSpPr>
          <p:nvPr>
            <p:ph type="body" sz="quarter" idx="33"/>
          </p:nvPr>
        </p:nvSpPr>
        <p:spPr/>
        <p:txBody>
          <a:bodyPr/>
          <a:lstStyle/>
          <a:p>
            <a:endParaRPr lang="en-GB"/>
          </a:p>
        </p:txBody>
      </p:sp>
      <p:pic>
        <p:nvPicPr>
          <p:cNvPr id="25" name="Picture 24" descr="Guidelines - Branding and Identity">
            <a:extLst>
              <a:ext uri="{FF2B5EF4-FFF2-40B4-BE49-F238E27FC236}">
                <a16:creationId xmlns:a16="http://schemas.microsoft.com/office/drawing/2014/main" id="{FCF5E52A-AF1C-1B2E-6146-248611A1F774}"/>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728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E96DF89-EBFF-CA4F-35BD-7DD0CAD9E5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6" name="Object 15" hidden="1">
                        <a:extLst>
                          <a:ext uri="{FF2B5EF4-FFF2-40B4-BE49-F238E27FC236}">
                            <a16:creationId xmlns:a16="http://schemas.microsoft.com/office/drawing/2014/main" id="{0E96DF89-EBFF-CA4F-35BD-7DD0CAD9E5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Content Placeholder 27">
            <a:extLst>
              <a:ext uri="{FF2B5EF4-FFF2-40B4-BE49-F238E27FC236}">
                <a16:creationId xmlns:a16="http://schemas.microsoft.com/office/drawing/2014/main" id="{DFA48E80-096D-9B97-74B4-9DE4C2793FC8}"/>
              </a:ext>
            </a:extLst>
          </p:cNvPr>
          <p:cNvSpPr>
            <a:spLocks noGrp="1"/>
          </p:cNvSpPr>
          <p:nvPr>
            <p:ph sz="half" idx="2"/>
          </p:nvPr>
        </p:nvSpPr>
        <p:spPr>
          <a:xfrm>
            <a:off x="484895" y="1868991"/>
            <a:ext cx="5404628" cy="4223544"/>
          </a:xfrm>
        </p:spPr>
        <p:txBody>
          <a:bodyPr/>
          <a:lstStyle/>
          <a:p>
            <a:endParaRPr lang="en-US" dirty="0"/>
          </a:p>
        </p:txBody>
      </p:sp>
      <p:sp>
        <p:nvSpPr>
          <p:cNvPr id="30" name="Content Placeholder 29">
            <a:extLst>
              <a:ext uri="{FF2B5EF4-FFF2-40B4-BE49-F238E27FC236}">
                <a16:creationId xmlns:a16="http://schemas.microsoft.com/office/drawing/2014/main" id="{4638F754-DB4C-F57F-A7E0-08B0255CA3A1}"/>
              </a:ext>
            </a:extLst>
          </p:cNvPr>
          <p:cNvSpPr>
            <a:spLocks noGrp="1"/>
          </p:cNvSpPr>
          <p:nvPr>
            <p:ph sz="quarter" idx="4"/>
          </p:nvPr>
        </p:nvSpPr>
        <p:spPr>
          <a:xfrm>
            <a:off x="6302479" y="1868991"/>
            <a:ext cx="5409452" cy="4223834"/>
          </a:xfrm>
        </p:spPr>
        <p:txBody>
          <a:bodyPr/>
          <a:lstStyle/>
          <a:p>
            <a:endParaRPr lang="en-US" dirty="0"/>
          </a:p>
        </p:txBody>
      </p:sp>
      <p:sp>
        <p:nvSpPr>
          <p:cNvPr id="9" name="Slide Number Placeholder 8">
            <a:extLst>
              <a:ext uri="{FF2B5EF4-FFF2-40B4-BE49-F238E27FC236}">
                <a16:creationId xmlns:a16="http://schemas.microsoft.com/office/drawing/2014/main" id="{DD895508-39FE-6CC7-DF54-35D0407FDD49}"/>
              </a:ext>
            </a:extLst>
          </p:cNvPr>
          <p:cNvSpPr>
            <a:spLocks noGrp="1"/>
          </p:cNvSpPr>
          <p:nvPr>
            <p:ph type="sldNum" sz="quarter" idx="12"/>
          </p:nvPr>
        </p:nvSpPr>
        <p:spPr/>
        <p:txBody>
          <a:bodyPr/>
          <a:lstStyle/>
          <a:p>
            <a:fld id="{F93F11C7-B87C-4933-9AFD-08422E5A18E7}" type="slidenum">
              <a:rPr lang="en-US" smtClean="0"/>
              <a:pPr/>
              <a:t>7</a:t>
            </a:fld>
            <a:endParaRPr lang="en-US"/>
          </a:p>
        </p:txBody>
      </p:sp>
      <p:sp>
        <p:nvSpPr>
          <p:cNvPr id="26" name="Title 25">
            <a:extLst>
              <a:ext uri="{FF2B5EF4-FFF2-40B4-BE49-F238E27FC236}">
                <a16:creationId xmlns:a16="http://schemas.microsoft.com/office/drawing/2014/main" id="{94BFB233-598B-BC0E-D674-910EA0551218}"/>
              </a:ext>
            </a:extLst>
          </p:cNvPr>
          <p:cNvSpPr>
            <a:spLocks noGrp="1"/>
          </p:cNvSpPr>
          <p:nvPr>
            <p:ph type="title"/>
          </p:nvPr>
        </p:nvSpPr>
        <p:spPr/>
        <p:txBody>
          <a:bodyPr/>
          <a:lstStyle/>
          <a:p>
            <a:r>
              <a:rPr lang="en-US" dirty="0"/>
              <a:t>vi. Business model and potential revenue generation</a:t>
            </a:r>
          </a:p>
        </p:txBody>
      </p:sp>
      <p:sp>
        <p:nvSpPr>
          <p:cNvPr id="27" name="Text Placeholder 26">
            <a:extLst>
              <a:ext uri="{FF2B5EF4-FFF2-40B4-BE49-F238E27FC236}">
                <a16:creationId xmlns:a16="http://schemas.microsoft.com/office/drawing/2014/main" id="{4706A2A2-BA33-340D-638A-78770E1BACEF}"/>
              </a:ext>
            </a:extLst>
          </p:cNvPr>
          <p:cNvSpPr>
            <a:spLocks noGrp="1"/>
          </p:cNvSpPr>
          <p:nvPr>
            <p:ph type="body" idx="1"/>
          </p:nvPr>
        </p:nvSpPr>
        <p:spPr>
          <a:xfrm>
            <a:off x="484895" y="1211151"/>
            <a:ext cx="5404628" cy="657840"/>
          </a:xfrm>
        </p:spPr>
        <p:txBody>
          <a:bodyPr/>
          <a:lstStyle/>
          <a:p>
            <a:endParaRPr lang="en-US" dirty="0"/>
          </a:p>
        </p:txBody>
      </p:sp>
      <p:sp>
        <p:nvSpPr>
          <p:cNvPr id="29" name="Text Placeholder 28">
            <a:extLst>
              <a:ext uri="{FF2B5EF4-FFF2-40B4-BE49-F238E27FC236}">
                <a16:creationId xmlns:a16="http://schemas.microsoft.com/office/drawing/2014/main" id="{19959930-95EB-8CB4-09B7-59472685A3AC}"/>
              </a:ext>
            </a:extLst>
          </p:cNvPr>
          <p:cNvSpPr>
            <a:spLocks noGrp="1"/>
          </p:cNvSpPr>
          <p:nvPr>
            <p:ph type="body" sz="quarter" idx="3"/>
          </p:nvPr>
        </p:nvSpPr>
        <p:spPr>
          <a:xfrm>
            <a:off x="6302479" y="1200533"/>
            <a:ext cx="5409452" cy="668458"/>
          </a:xfrm>
        </p:spPr>
        <p:txBody>
          <a:bodyPr/>
          <a:lstStyle/>
          <a:p>
            <a:endParaRPr lang="en-US" dirty="0"/>
          </a:p>
        </p:txBody>
      </p:sp>
      <p:pic>
        <p:nvPicPr>
          <p:cNvPr id="2" name="Picture 1" descr="Guidelines - Branding and Identity">
            <a:extLst>
              <a:ext uri="{FF2B5EF4-FFF2-40B4-BE49-F238E27FC236}">
                <a16:creationId xmlns:a16="http://schemas.microsoft.com/office/drawing/2014/main" id="{B1A5AFAD-8C5E-437F-26E4-C36492B0644D}"/>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12055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25AA135-7910-2096-FCDB-4483E7795AD1}"/>
              </a:ext>
            </a:extLst>
          </p:cNvPr>
          <p:cNvSpPr>
            <a:spLocks noGrp="1"/>
          </p:cNvSpPr>
          <p:nvPr>
            <p:ph type="title"/>
          </p:nvPr>
        </p:nvSpPr>
        <p:spPr/>
        <p:txBody>
          <a:bodyPr/>
          <a:lstStyle/>
          <a:p>
            <a:r>
              <a:rPr lang="en-US" dirty="0"/>
              <a:t>vii. Potential risks and mitigation</a:t>
            </a:r>
          </a:p>
        </p:txBody>
      </p:sp>
      <p:sp>
        <p:nvSpPr>
          <p:cNvPr id="9" name="Content Placeholder 8">
            <a:extLst>
              <a:ext uri="{FF2B5EF4-FFF2-40B4-BE49-F238E27FC236}">
                <a16:creationId xmlns:a16="http://schemas.microsoft.com/office/drawing/2014/main" id="{D949A6A5-C8EA-A8B6-FFD1-06453640F7DA}"/>
              </a:ext>
            </a:extLst>
          </p:cNvPr>
          <p:cNvSpPr>
            <a:spLocks noGrp="1"/>
          </p:cNvSpPr>
          <p:nvPr>
            <p:ph idx="1"/>
          </p:nvPr>
        </p:nvSpPr>
        <p:spPr/>
        <p:txBody>
          <a:bodyPr/>
          <a:lstStyle/>
          <a:p>
            <a:endParaRPr lang="en-US"/>
          </a:p>
        </p:txBody>
      </p:sp>
      <p:sp>
        <p:nvSpPr>
          <p:cNvPr id="7" name="Slide Number Placeholder 6">
            <a:extLst>
              <a:ext uri="{FF2B5EF4-FFF2-40B4-BE49-F238E27FC236}">
                <a16:creationId xmlns:a16="http://schemas.microsoft.com/office/drawing/2014/main" id="{5AE75885-BE5A-758F-2336-0C9E112F619D}"/>
              </a:ext>
            </a:extLst>
          </p:cNvPr>
          <p:cNvSpPr>
            <a:spLocks noGrp="1"/>
          </p:cNvSpPr>
          <p:nvPr>
            <p:ph type="sldNum" sz="quarter" idx="12"/>
          </p:nvPr>
        </p:nvSpPr>
        <p:spPr/>
        <p:txBody>
          <a:bodyPr/>
          <a:lstStyle/>
          <a:p>
            <a:fld id="{F93F11C7-B87C-4933-9AFD-08422E5A18E7}" type="slidenum">
              <a:rPr lang="en-US" smtClean="0"/>
              <a:pPr/>
              <a:t>8</a:t>
            </a:fld>
            <a:endParaRPr lang="en-US"/>
          </a:p>
        </p:txBody>
      </p:sp>
      <p:pic>
        <p:nvPicPr>
          <p:cNvPr id="10" name="Picture 9" descr="Guidelines - Branding and Identity">
            <a:extLst>
              <a:ext uri="{FF2B5EF4-FFF2-40B4-BE49-F238E27FC236}">
                <a16:creationId xmlns:a16="http://schemas.microsoft.com/office/drawing/2014/main" id="{0A5BC18A-8541-5A3B-E969-56B6C18C63EA}"/>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029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B4E8C08-65F8-CBD3-789E-CC820731F2DC}"/>
              </a:ext>
            </a:extLst>
          </p:cNvPr>
          <p:cNvGraphicFramePr>
            <a:graphicFrameLocks noChangeAspect="1"/>
          </p:cNvGraphicFramePr>
          <p:nvPr>
            <p:custDataLst>
              <p:tags r:id="rId2"/>
            </p:custDataLst>
            <p:extLst>
              <p:ext uri="{D42A27DB-BD31-4B8C-83A1-F6EECF244321}">
                <p14:modId xmlns:p14="http://schemas.microsoft.com/office/powerpoint/2010/main" val="2992688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FB4E8C08-65F8-CBD3-789E-CC820731F2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Slide Number Placeholder 10">
            <a:extLst>
              <a:ext uri="{FF2B5EF4-FFF2-40B4-BE49-F238E27FC236}">
                <a16:creationId xmlns:a16="http://schemas.microsoft.com/office/drawing/2014/main" id="{0F531AB5-A755-5C7C-0F91-92B1AA6079B1}"/>
              </a:ext>
            </a:extLst>
          </p:cNvPr>
          <p:cNvSpPr>
            <a:spLocks noGrp="1"/>
          </p:cNvSpPr>
          <p:nvPr>
            <p:ph type="sldNum" sz="quarter" idx="12"/>
          </p:nvPr>
        </p:nvSpPr>
        <p:spPr/>
        <p:txBody>
          <a:bodyPr/>
          <a:lstStyle/>
          <a:p>
            <a:fld id="{F93F11C7-B87C-4933-9AFD-08422E5A18E7}" type="slidenum">
              <a:rPr lang="en-US" smtClean="0"/>
              <a:pPr/>
              <a:t>9</a:t>
            </a:fld>
            <a:endParaRPr lang="en-US"/>
          </a:p>
        </p:txBody>
      </p:sp>
      <p:sp>
        <p:nvSpPr>
          <p:cNvPr id="12" name="Text Placeholder 11">
            <a:extLst>
              <a:ext uri="{FF2B5EF4-FFF2-40B4-BE49-F238E27FC236}">
                <a16:creationId xmlns:a16="http://schemas.microsoft.com/office/drawing/2014/main" id="{0DF35525-D990-B90A-391C-5C6EBCA34649}"/>
              </a:ext>
            </a:extLst>
          </p:cNvPr>
          <p:cNvSpPr>
            <a:spLocks noGrp="1"/>
          </p:cNvSpPr>
          <p:nvPr>
            <p:ph type="body" sz="quarter" idx="14"/>
          </p:nvPr>
        </p:nvSpPr>
        <p:spPr/>
        <p:txBody>
          <a:bodyPr/>
          <a:lstStyle/>
          <a:p>
            <a:endParaRPr lang="en-GB" dirty="0"/>
          </a:p>
        </p:txBody>
      </p:sp>
      <p:sp>
        <p:nvSpPr>
          <p:cNvPr id="14" name="Text Placeholder 13">
            <a:extLst>
              <a:ext uri="{FF2B5EF4-FFF2-40B4-BE49-F238E27FC236}">
                <a16:creationId xmlns:a16="http://schemas.microsoft.com/office/drawing/2014/main" id="{02DD32FE-ECE9-8384-F73D-E4CF133E7F90}"/>
              </a:ext>
            </a:extLst>
          </p:cNvPr>
          <p:cNvSpPr>
            <a:spLocks noGrp="1"/>
          </p:cNvSpPr>
          <p:nvPr>
            <p:ph type="body" sz="quarter" idx="18"/>
          </p:nvPr>
        </p:nvSpPr>
        <p:spPr/>
        <p:txBody>
          <a:bodyPr/>
          <a:lstStyle/>
          <a:p>
            <a:endParaRPr lang="en-GB"/>
          </a:p>
        </p:txBody>
      </p:sp>
      <p:sp>
        <p:nvSpPr>
          <p:cNvPr id="5" name="Title 4">
            <a:extLst>
              <a:ext uri="{FF2B5EF4-FFF2-40B4-BE49-F238E27FC236}">
                <a16:creationId xmlns:a16="http://schemas.microsoft.com/office/drawing/2014/main" id="{DE7FC370-B441-17A1-5906-F5A629DCFBB2}"/>
              </a:ext>
            </a:extLst>
          </p:cNvPr>
          <p:cNvSpPr>
            <a:spLocks noGrp="1"/>
          </p:cNvSpPr>
          <p:nvPr>
            <p:ph type="title"/>
          </p:nvPr>
        </p:nvSpPr>
        <p:spPr/>
        <p:txBody>
          <a:bodyPr/>
          <a:lstStyle/>
          <a:p>
            <a:r>
              <a:rPr lang="en-US" dirty="0"/>
              <a:t>viii. The Ask: funding and support needs over 12 months.</a:t>
            </a:r>
            <a:endParaRPr lang="en-GB" dirty="0"/>
          </a:p>
        </p:txBody>
      </p:sp>
      <p:sp>
        <p:nvSpPr>
          <p:cNvPr id="3" name="TextBox 2">
            <a:extLst>
              <a:ext uri="{FF2B5EF4-FFF2-40B4-BE49-F238E27FC236}">
                <a16:creationId xmlns:a16="http://schemas.microsoft.com/office/drawing/2014/main" id="{4DEAA29D-6D16-F1A2-6C37-FA06632F3053}"/>
              </a:ext>
            </a:extLst>
          </p:cNvPr>
          <p:cNvSpPr txBox="1"/>
          <p:nvPr/>
        </p:nvSpPr>
        <p:spPr>
          <a:xfrm>
            <a:off x="457199" y="2563168"/>
            <a:ext cx="7518399" cy="3538816"/>
          </a:xfrm>
          <a:prstGeom prst="rect">
            <a:avLst/>
          </a:prstGeom>
          <a:noFill/>
        </p:spPr>
        <p:txBody>
          <a:bodyPr wrap="square" lIns="72000" tIns="72000" rIns="72000" bIns="72000" rtlCol="0">
            <a:noAutofit/>
          </a:bodyPr>
          <a:lstStyle/>
          <a:p>
            <a:pPr algn="l"/>
            <a:r>
              <a:rPr lang="en-US" sz="2200" dirty="0"/>
              <a:t>Add text or visuals here</a:t>
            </a:r>
          </a:p>
        </p:txBody>
      </p:sp>
      <p:pic>
        <p:nvPicPr>
          <p:cNvPr id="4" name="Picture 3" descr="Guidelines - Branding and Identity">
            <a:extLst>
              <a:ext uri="{FF2B5EF4-FFF2-40B4-BE49-F238E27FC236}">
                <a16:creationId xmlns:a16="http://schemas.microsoft.com/office/drawing/2014/main" id="{B558F09C-C51D-E509-6B5D-1FA30CBCCAC2}"/>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0873" y="5951625"/>
            <a:ext cx="1096143" cy="94268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6416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CLEAN COOKING ALLIANCE" val="wnNceCpY"/>
  <p:tag name="ARTICULATE_SLIDE_COUNT" val="107"/>
  <p:tag name="THINKCELLUNDODONOTDELETE" val="0"/>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2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Template &amp; Toolkit 08.pptx" id="{E74D6E31-51EC-4CE2-A87F-85A15D3A0C9A}" vid="{F03F81F7-F452-4954-B684-5D4A8A405CCA}"/>
    </a:ext>
  </a:extLst>
</a:theme>
</file>

<file path=ppt/theme/theme2.xml><?xml version="1.0" encoding="utf-8"?>
<a:theme xmlns:a="http://schemas.openxmlformats.org/drawingml/2006/main" name="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2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Template &amp; Toolkit 08.pptx" id="{E74D6E31-51EC-4CE2-A87F-85A15D3A0C9A}" vid="{F03F81F7-F452-4954-B684-5D4A8A405CCA}"/>
    </a:ext>
  </a:extLst>
</a:theme>
</file>

<file path=ppt/theme/theme3.xml><?xml version="1.0" encoding="utf-8"?>
<a:theme xmlns:a="http://schemas.openxmlformats.org/drawingml/2006/main" name="Clean Cooking Alliance">
  <a:themeElements>
    <a:clrScheme name="CCA">
      <a:dk1>
        <a:srgbClr val="000000"/>
      </a:dk1>
      <a:lt1>
        <a:srgbClr val="FFFFFF"/>
      </a:lt1>
      <a:dk2>
        <a:srgbClr val="183B72"/>
      </a:dk2>
      <a:lt2>
        <a:srgbClr val="F2F2F2"/>
      </a:lt2>
      <a:accent1>
        <a:srgbClr val="0280BF"/>
      </a:accent1>
      <a:accent2>
        <a:srgbClr val="99D4F2"/>
      </a:accent2>
      <a:accent3>
        <a:srgbClr val="578C43"/>
      </a:accent3>
      <a:accent4>
        <a:srgbClr val="255225"/>
      </a:accent4>
      <a:accent5>
        <a:srgbClr val="F99303"/>
      </a:accent5>
      <a:accent6>
        <a:srgbClr val="B02676"/>
      </a:accent6>
      <a:hlink>
        <a:srgbClr val="0563C1"/>
      </a:hlink>
      <a:folHlink>
        <a:srgbClr val="954F72"/>
      </a:folHlink>
    </a:clrScheme>
    <a:fontScheme name="Custom 138">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22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rnd">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defRPr sz="2200" dirty="0" err="1" smtClean="0"/>
        </a:defPPr>
      </a:lstStyle>
    </a:txDef>
  </a:objectDefaults>
  <a:extraClrSchemeLst/>
  <a:custClrLst/>
  <a:extLst>
    <a:ext uri="{05A4C25C-085E-4340-85A3-A5531E510DB2}">
      <thm15:themeFamily xmlns:thm15="http://schemas.microsoft.com/office/thememl/2012/main" name="Clean Cooking Alliance - Blank Template 08.potx" id="{C726EA53-9EFC-4F6C-9E7D-50C79F7A1215}" vid="{83922EEB-8E37-4FDA-A1E8-6B8B07137D8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8DAA634-D530-4AE2-96EA-23B2FE94ED70}">
  <we:reference id="wa200000729" version="3.19.222.0" store="en-US" storeType="OMEX"/>
  <we:alternateReferences>
    <we:reference id="WA200000729" version="3.19.222.0" store="WA20000072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e15595e-aef0-4233-b25e-f6458efbc9ba">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4EBBAFDD59EBB43958D4E5C6BE95E5C" ma:contentTypeVersion="14" ma:contentTypeDescription="Create a new document." ma:contentTypeScope="" ma:versionID="b001e5f67643ce045d005138e9734492">
  <xsd:schema xmlns:xsd="http://www.w3.org/2001/XMLSchema" xmlns:xs="http://www.w3.org/2001/XMLSchema" xmlns:p="http://schemas.microsoft.com/office/2006/metadata/properties" xmlns:ns2="6e15595e-aef0-4233-b25e-f6458efbc9ba" xmlns:ns3="6e456998-5bfd-4d11-ab8a-1d29c3184cba" targetNamespace="http://schemas.microsoft.com/office/2006/metadata/properties" ma:root="true" ma:fieldsID="92663fa74927aba15e448af331f70d68" ns2:_="" ns3:_="">
    <xsd:import namespace="6e15595e-aef0-4233-b25e-f6458efbc9ba"/>
    <xsd:import namespace="6e456998-5bfd-4d11-ab8a-1d29c3184cb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15595e-aef0-4233-b25e-f6458efbc9b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0e960af4-01f6-4f5c-9dc6-429073b4700e"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e456998-5bfd-4d11-ab8a-1d29c3184cba"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C65ABC-45BD-4D39-9238-AAEED51365D9}">
  <ds:schemaRefs>
    <ds:schemaRef ds:uri="http://schemas.openxmlformats.org/package/2006/metadata/core-properties"/>
    <ds:schemaRef ds:uri="http://schemas.microsoft.com/office/2006/documentManagement/types"/>
    <ds:schemaRef ds:uri="6e15595e-aef0-4233-b25e-f6458efbc9ba"/>
    <ds:schemaRef ds:uri="http://schemas.microsoft.com/office/2006/metadata/properties"/>
    <ds:schemaRef ds:uri="http://purl.org/dc/dcmitype/"/>
    <ds:schemaRef ds:uri="http://schemas.microsoft.com/office/infopath/2007/PartnerControls"/>
    <ds:schemaRef ds:uri="http://purl.org/dc/terms/"/>
    <ds:schemaRef ds:uri="6e456998-5bfd-4d11-ab8a-1d29c3184cba"/>
    <ds:schemaRef ds:uri="http://www.w3.org/XML/1998/namespace"/>
    <ds:schemaRef ds:uri="http://purl.org/dc/elements/1.1/"/>
  </ds:schemaRefs>
</ds:datastoreItem>
</file>

<file path=customXml/itemProps2.xml><?xml version="1.0" encoding="utf-8"?>
<ds:datastoreItem xmlns:ds="http://schemas.openxmlformats.org/officeDocument/2006/customXml" ds:itemID="{2B2702A3-5A6E-4995-A3BA-3B2CD6041F10}">
  <ds:schemaRefs>
    <ds:schemaRef ds:uri="6e15595e-aef0-4233-b25e-f6458efbc9ba"/>
    <ds:schemaRef ds:uri="6e456998-5bfd-4d11-ab8a-1d29c3184cb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F3A68AC-6F93-47DA-8725-C95586632DA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lean Cooking Alliance</Template>
  <TotalTime>67</TotalTime>
  <Words>1060</Words>
  <Application>Microsoft Office PowerPoint</Application>
  <PresentationFormat>Widescreen</PresentationFormat>
  <Paragraphs>74</Paragraphs>
  <Slides>13</Slides>
  <Notes>4</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0" baseType="lpstr">
      <vt:lpstr>Arial</vt:lpstr>
      <vt:lpstr>Avenir Next LT Pro</vt:lpstr>
      <vt:lpstr>Calibri</vt:lpstr>
      <vt:lpstr>Clean Cooking Alliance</vt:lpstr>
      <vt:lpstr>Clean Cooking Alliance</vt:lpstr>
      <vt:lpstr>Clean Cooking Alliance</vt:lpstr>
      <vt:lpstr>think-cell Slide</vt:lpstr>
      <vt:lpstr>Global Partnership to Accelerate Finance for Clean Cooking</vt:lpstr>
      <vt:lpstr>i. Executive Summary</vt:lpstr>
      <vt:lpstr>ii. Problem Statement and Market Needs linked to clean cooking</vt:lpstr>
      <vt:lpstr>iii. Proposed Solution and Any Traction</vt:lpstr>
      <vt:lpstr>iv. Milestones going forward (including indicative KPIs)</vt:lpstr>
      <vt:lpstr>v. Team incl. partnership arrangement  (those directly involved in solution who may participate in bootcamp)</vt:lpstr>
      <vt:lpstr>vi. Business model and potential revenue generation</vt:lpstr>
      <vt:lpstr>vii. Potential risks and mitigation</vt:lpstr>
      <vt:lpstr>viii. The Ask: funding and support needs over 12 months.</vt:lpstr>
      <vt:lpstr>ix. Achievements post Bootcamp and Accelerator stages</vt:lpstr>
      <vt:lpstr>x. Technical Assistance requirement</vt:lpstr>
      <vt:lpstr>xi. Free slide</vt:lpstr>
      <vt:lpstr>xii. Free sli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Partnership to Accelerate Finance for Clean Cooking</dc:title>
  <dc:creator>Rose Atkinson</dc:creator>
  <cp:lastModifiedBy>Giovanni Congi</cp:lastModifiedBy>
  <cp:revision>31</cp:revision>
  <dcterms:created xsi:type="dcterms:W3CDTF">2023-01-23T11:12:06Z</dcterms:created>
  <dcterms:modified xsi:type="dcterms:W3CDTF">2023-04-13T15:2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EBBAFDD59EBB43958D4E5C6BE95E5C</vt:lpwstr>
  </property>
  <property fmtid="{D5CDD505-2E9C-101B-9397-08002B2CF9AE}" pid="3" name="MediaServiceImageTags">
    <vt:lpwstr/>
  </property>
  <property fmtid="{D5CDD505-2E9C-101B-9397-08002B2CF9AE}" pid="4" name="ArticulateGUID">
    <vt:lpwstr>982B4628-CD39-4A33-9E47-A2F31AD78304</vt:lpwstr>
  </property>
  <property fmtid="{D5CDD505-2E9C-101B-9397-08002B2CF9AE}" pid="5" name="ArticulatePath">
    <vt:lpwstr>https://brightcarbon.sharepoint.com/sites/Intranet/Projects/ABCD/Clean Cooking Alliance/CLCA 7439 - PowerPoint Template &amp; Toolkit/Clean Cooking Alliance - Template Sample 01</vt:lpwstr>
  </property>
</Properties>
</file>